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Default Extension="gif" ContentType="image/gif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8"/>
  </p:notesMasterIdLst>
  <p:sldIdLst>
    <p:sldId id="256" r:id="rId2"/>
    <p:sldId id="274" r:id="rId3"/>
    <p:sldId id="257" r:id="rId4"/>
    <p:sldId id="429" r:id="rId5"/>
    <p:sldId id="430" r:id="rId6"/>
    <p:sldId id="340" r:id="rId7"/>
    <p:sldId id="335" r:id="rId8"/>
    <p:sldId id="336" r:id="rId9"/>
    <p:sldId id="337" r:id="rId10"/>
    <p:sldId id="338" r:id="rId11"/>
    <p:sldId id="319" r:id="rId12"/>
    <p:sldId id="419" r:id="rId13"/>
    <p:sldId id="420" r:id="rId14"/>
    <p:sldId id="339" r:id="rId15"/>
    <p:sldId id="454" r:id="rId16"/>
    <p:sldId id="320" r:id="rId17"/>
    <p:sldId id="321" r:id="rId18"/>
    <p:sldId id="431" r:id="rId19"/>
    <p:sldId id="323" r:id="rId20"/>
    <p:sldId id="439" r:id="rId21"/>
    <p:sldId id="334" r:id="rId22"/>
    <p:sldId id="281" r:id="rId23"/>
    <p:sldId id="301" r:id="rId24"/>
    <p:sldId id="284" r:id="rId25"/>
    <p:sldId id="341" r:id="rId26"/>
    <p:sldId id="342" r:id="rId27"/>
    <p:sldId id="453" r:id="rId28"/>
    <p:sldId id="372" r:id="rId29"/>
    <p:sldId id="348" r:id="rId30"/>
    <p:sldId id="349" r:id="rId31"/>
    <p:sldId id="350" r:id="rId32"/>
    <p:sldId id="351" r:id="rId33"/>
    <p:sldId id="352" r:id="rId34"/>
    <p:sldId id="353" r:id="rId35"/>
    <p:sldId id="354" r:id="rId36"/>
    <p:sldId id="355" r:id="rId37"/>
    <p:sldId id="356" r:id="rId38"/>
    <p:sldId id="446" r:id="rId39"/>
    <p:sldId id="357" r:id="rId40"/>
    <p:sldId id="367" r:id="rId41"/>
    <p:sldId id="368" r:id="rId42"/>
    <p:sldId id="369" r:id="rId43"/>
    <p:sldId id="370" r:id="rId44"/>
    <p:sldId id="371" r:id="rId45"/>
    <p:sldId id="358" r:id="rId46"/>
    <p:sldId id="359" r:id="rId47"/>
    <p:sldId id="360" r:id="rId48"/>
    <p:sldId id="432" r:id="rId49"/>
    <p:sldId id="448" r:id="rId50"/>
    <p:sldId id="442" r:id="rId51"/>
    <p:sldId id="433" r:id="rId52"/>
    <p:sldId id="434" r:id="rId53"/>
    <p:sldId id="435" r:id="rId54"/>
    <p:sldId id="447" r:id="rId55"/>
    <p:sldId id="436" r:id="rId56"/>
    <p:sldId id="444" r:id="rId57"/>
    <p:sldId id="445" r:id="rId58"/>
    <p:sldId id="346" r:id="rId59"/>
    <p:sldId id="379" r:id="rId60"/>
    <p:sldId id="385" r:id="rId61"/>
    <p:sldId id="389" r:id="rId62"/>
    <p:sldId id="395" r:id="rId63"/>
    <p:sldId id="397" r:id="rId64"/>
    <p:sldId id="400" r:id="rId65"/>
    <p:sldId id="402" r:id="rId66"/>
    <p:sldId id="405" r:id="rId67"/>
    <p:sldId id="407" r:id="rId68"/>
    <p:sldId id="410" r:id="rId69"/>
    <p:sldId id="415" r:id="rId70"/>
    <p:sldId id="417" r:id="rId71"/>
    <p:sldId id="425" r:id="rId72"/>
    <p:sldId id="437" r:id="rId73"/>
    <p:sldId id="438" r:id="rId74"/>
    <p:sldId id="457" r:id="rId75"/>
    <p:sldId id="292" r:id="rId76"/>
    <p:sldId id="426" r:id="rId77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00CC99"/>
    <a:srgbClr val="FF7C80"/>
    <a:srgbClr val="339966"/>
    <a:srgbClr val="66FF66"/>
    <a:srgbClr val="6699FF"/>
    <a:srgbClr val="B2FC9E"/>
    <a:srgbClr val="336699"/>
    <a:srgbClr val="CC6600"/>
    <a:srgbClr val="339933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993" autoAdjust="0"/>
    <p:restoredTop sz="99286" autoAdjust="0"/>
  </p:normalViewPr>
  <p:slideViewPr>
    <p:cSldViewPr>
      <p:cViewPr>
        <p:scale>
          <a:sx n="75" d="100"/>
          <a:sy n="75" d="100"/>
        </p:scale>
        <p:origin x="-117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6851E-2"/>
          <c:y val="4.0667411958645899E-2"/>
          <c:w val="0.87319367961076477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FFFF99"/>
            </a:soli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2.9878408991189636E-2"/>
                  <c:y val="-1.7731433603360505E-2"/>
                </c:manualLayout>
              </c:layout>
              <c:showVal val="1"/>
            </c:dLbl>
            <c:dLbl>
              <c:idx val="1"/>
              <c:layout>
                <c:manualLayout>
                  <c:x val="-2.0914886293832587E-2"/>
                  <c:y val="-1.0132247773348726E-2"/>
                </c:manualLayout>
              </c:layout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701.78</c:v>
                </c:pt>
                <c:pt idx="1">
                  <c:v>1845.72</c:v>
                </c:pt>
                <c:pt idx="2">
                  <c:v>1487.62</c:v>
                </c:pt>
                <c:pt idx="3">
                  <c:v>1070.06</c:v>
                </c:pt>
                <c:pt idx="4">
                  <c:v>1069.58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00B0F0"/>
            </a:soli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4.0335852138106004E-2"/>
                  <c:y val="-1.4673409531293782E-2"/>
                </c:manualLayout>
              </c:layout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showVal val="1"/>
            </c:dLbl>
            <c:dLbl>
              <c:idx val="2"/>
              <c:layout>
                <c:manualLayout>
                  <c:x val="1.6433124945154424E-2"/>
                  <c:y val="-1.4512166404584975E-18"/>
                </c:manualLayout>
              </c:layout>
              <c:showVal val="1"/>
            </c:dLbl>
            <c:dLbl>
              <c:idx val="3"/>
              <c:layout>
                <c:manualLayout>
                  <c:x val="1.4939204495594794E-2"/>
                  <c:y val="-2.5330619433372092E-3"/>
                </c:manualLayout>
              </c:layout>
              <c:showVal val="1"/>
            </c:dLbl>
            <c:dLbl>
              <c:idx val="4"/>
              <c:layout>
                <c:manualLayout>
                  <c:x val="3.2866249890308605E-2"/>
                  <c:y val="-1.0132247773348726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620.6299999999999</c:v>
                </c:pt>
                <c:pt idx="1">
                  <c:v>1937.83</c:v>
                </c:pt>
                <c:pt idx="2">
                  <c:v>1920.81</c:v>
                </c:pt>
                <c:pt idx="3">
                  <c:v>1537.48</c:v>
                </c:pt>
                <c:pt idx="4">
                  <c:v>1556.24</c:v>
                </c:pt>
              </c:numCache>
            </c:numRef>
          </c:val>
        </c:ser>
        <c:gapDepth val="0"/>
        <c:shape val="cylinder"/>
        <c:axId val="91191936"/>
        <c:axId val="91218304"/>
        <c:axId val="0"/>
      </c:bar3DChart>
      <c:catAx>
        <c:axId val="91191936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2334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91218304"/>
        <c:crosses val="autoZero"/>
        <c:auto val="1"/>
        <c:lblAlgn val="ctr"/>
        <c:lblOffset val="100"/>
        <c:tickLblSkip val="1"/>
        <c:tickMarkSkip val="1"/>
      </c:catAx>
      <c:valAx>
        <c:axId val="91218304"/>
        <c:scaling>
          <c:orientation val="minMax"/>
        </c:scaling>
        <c:delete val="1"/>
        <c:axPos val="l"/>
        <c:numFmt formatCode="General" sourceLinked="1"/>
        <c:tickLblPos val="none"/>
        <c:crossAx val="91191936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layout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882"/>
          <c:y val="3.437500000000001E-2"/>
          <c:w val="0.64375000000001725"/>
          <c:h val="0.9656250000000193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7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387E-2"/>
          <c:w val="0.90537698500052011"/>
          <c:h val="0.9040571089060620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2"/>
            <c:explosion val="0"/>
            <c:spPr>
              <a:solidFill>
                <a:schemeClr val="accent6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2.1829399650480592E-2"/>
                  <c:y val="9.91751311049163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,1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856703294369387"/>
                  <c:y val="1.487936925659151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8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481571066101938"/>
                  <c:y val="-0.15888924884137737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/>
                      <a:t>9,4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031.9000000000001</c:v>
                </c:pt>
                <c:pt idx="1">
                  <c:v>737.1</c:v>
                </c:pt>
                <c:pt idx="2">
                  <c:v>1832.4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rgbClr val="EEA9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rgbClr val="F3774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19</c:v>
                </c:pt>
                <c:pt idx="1">
                  <c:v>01.01.2020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1280</c:v>
                </c:pt>
                <c:pt idx="1">
                  <c:v>12130</c:v>
                </c:pt>
              </c:numCache>
            </c:numRef>
          </c:val>
        </c:ser>
        <c:gapWidth val="10"/>
        <c:overlap val="18"/>
        <c:axId val="149292160"/>
        <c:axId val="149293696"/>
      </c:barChart>
      <c:catAx>
        <c:axId val="149292160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49293696"/>
        <c:crosses val="autoZero"/>
        <c:auto val="1"/>
        <c:lblAlgn val="ctr"/>
        <c:lblOffset val="100"/>
      </c:catAx>
      <c:valAx>
        <c:axId val="149293696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4929216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2.6399278215223716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2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 г</c:v>
                </c:pt>
              </c:strCache>
            </c:strRef>
          </c:tx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r>
                      <a:rPr lang="ru-RU" smtClean="0"/>
                      <a:t>60</a:t>
                    </a:r>
                    <a:r>
                      <a:rPr lang="en-US" smtClean="0"/>
                      <a:t>,8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155.8000000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 г</c:v>
                </c:pt>
              </c:strCache>
            </c:strRef>
          </c:tx>
          <c:dLbls>
            <c:dLbl>
              <c:idx val="0"/>
              <c:layout>
                <c:manualLayout>
                  <c:x val="2.7777777777777926E-3"/>
                  <c:y val="-4.5444461143196741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-6.8166691714794982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2 г</c:v>
                </c:pt>
              </c:strCache>
            </c:strRef>
          </c:tx>
          <c:spPr>
            <a:solidFill>
              <a:srgbClr val="3399FF"/>
            </a:solidFill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hape val="cylinder"/>
        <c:axId val="149866752"/>
        <c:axId val="149872640"/>
        <c:axId val="0"/>
      </c:bar3DChart>
      <c:catAx>
        <c:axId val="149866752"/>
        <c:scaling>
          <c:orientation val="minMax"/>
        </c:scaling>
        <c:delete val="1"/>
        <c:axPos val="l"/>
        <c:tickLblPos val="none"/>
        <c:crossAx val="149872640"/>
        <c:crosses val="autoZero"/>
        <c:auto val="1"/>
        <c:lblAlgn val="ctr"/>
        <c:lblOffset val="100"/>
      </c:catAx>
      <c:valAx>
        <c:axId val="149872640"/>
        <c:scaling>
          <c:orientation val="minMax"/>
        </c:scaling>
        <c:delete val="1"/>
        <c:axPos val="b"/>
        <c:numFmt formatCode="0%" sourceLinked="1"/>
        <c:tickLblPos val="none"/>
        <c:crossAx val="149866752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ayout>
        <c:manualLayout>
          <c:xMode val="edge"/>
          <c:yMode val="edge"/>
          <c:x val="9.7222222222222224E-2"/>
          <c:y val="0.55487758621923555"/>
          <c:w val="0.77992235345582506"/>
          <c:h val="0.3292390378656133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4.3032905130774582E-2"/>
          <c:w val="0.50186830852038999"/>
          <c:h val="0.8860916170206900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6 %</c:v>
                </c:pt>
                <c:pt idx="4">
                  <c:v>Открытость и эффективность работы администрации 0,9 %</c:v>
                </c:pt>
                <c:pt idx="5">
                  <c:v>Развитие градостроительства, строительства и архитектуры 1,8 %</c:v>
                </c:pt>
                <c:pt idx="6">
                  <c:v>Культура 2,6 %</c:v>
                </c:pt>
                <c:pt idx="7">
                  <c:v>Развитие транспортной системы и охрана окружающей среды 6,7 %</c:v>
                </c:pt>
                <c:pt idx="8">
                  <c:v>Развитие физической культуры и спорта 10,6 %</c:v>
                </c:pt>
                <c:pt idx="9">
                  <c:v>Развитие жилищно-коммунального хозяйства 11,3 %</c:v>
                </c:pt>
                <c:pt idx="10">
                  <c:v>Формирование современной городской среды 12,3 %</c:v>
                </c:pt>
                <c:pt idx="11">
                  <c:v>Социальная поддержка населения 18,1%</c:v>
                </c:pt>
                <c:pt idx="12">
                  <c:v>Развитие образования 34,5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116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6.0000000000000114E-3</c:v>
                </c:pt>
                <c:pt idx="4">
                  <c:v>9.0000000000000028E-3</c:v>
                </c:pt>
                <c:pt idx="5">
                  <c:v>1.7999999999999999E-2</c:v>
                </c:pt>
                <c:pt idx="6">
                  <c:v>2.5999999999999999E-2</c:v>
                </c:pt>
                <c:pt idx="7">
                  <c:v>6.7000000000000004E-2</c:v>
                </c:pt>
                <c:pt idx="8">
                  <c:v>0.10600000000000002</c:v>
                </c:pt>
                <c:pt idx="9">
                  <c:v>0.113</c:v>
                </c:pt>
                <c:pt idx="10">
                  <c:v>0.12300000000000012</c:v>
                </c:pt>
                <c:pt idx="11">
                  <c:v>0.18100000000000024</c:v>
                </c:pt>
                <c:pt idx="12">
                  <c:v>0.34500000000000008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26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1535433070866692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6.9444444444445213E-3"/>
                  <c:y val="-6.3685803331218829E-2"/>
                </c:manualLayout>
              </c:layout>
              <c:showVal val="1"/>
            </c:dLbl>
            <c:dLbl>
              <c:idx val="1"/>
              <c:layout>
                <c:manualLayout>
                  <c:x val="2.7777777777778568E-3"/>
                  <c:y val="-8.3587616872224713E-2"/>
                </c:manualLayout>
              </c:layout>
              <c:showVal val="1"/>
            </c:dLbl>
            <c:dLbl>
              <c:idx val="2"/>
              <c:layout>
                <c:manualLayout>
                  <c:x val="-1.3888888888889137E-3"/>
                  <c:y val="-2.9852720311508828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</c:v>
                </c:pt>
                <c:pt idx="3">
                  <c:v>на 01.01.2022 г.</c:v>
                </c:pt>
                <c:pt idx="4">
                  <c:v>на 01.01.2023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161315840"/>
        <c:axId val="161317632"/>
        <c:axId val="159490048"/>
      </c:area3DChart>
      <c:catAx>
        <c:axId val="161315840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61317632"/>
        <c:crosses val="autoZero"/>
        <c:auto val="1"/>
        <c:lblAlgn val="ctr"/>
        <c:lblOffset val="100"/>
      </c:catAx>
      <c:valAx>
        <c:axId val="16131763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61315840"/>
        <c:crosses val="autoZero"/>
        <c:crossBetween val="midCat"/>
      </c:valAx>
      <c:serAx>
        <c:axId val="159490048"/>
        <c:scaling>
          <c:orientation val="minMax"/>
        </c:scaling>
        <c:delete val="1"/>
        <c:axPos val="b"/>
        <c:tickLblPos val="none"/>
        <c:crossAx val="16131763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1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9 год</a:t>
            </a:r>
          </a:p>
        </c:rich>
      </c:tx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1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</c:v>
                </c:pt>
                <c:pt idx="1">
                  <c:v>4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2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2592364474556212E-2"/>
          <c:y val="4.6439958814325402E-2"/>
          <c:w val="0.96740763552544395"/>
          <c:h val="0.62694177701878795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4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0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5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smtClean="0"/>
                      <a:t>26,2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6.4</c:v>
                </c:pt>
                <c:pt idx="1">
                  <c:v>26</c:v>
                </c:pt>
                <c:pt idx="2">
                  <c:v>26.5</c:v>
                </c:pt>
                <c:pt idx="3">
                  <c:v>26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0,1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0,5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,7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smtClean="0"/>
                      <a:t>12,7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.1</c:v>
                </c:pt>
                <c:pt idx="1">
                  <c:v>10.5</c:v>
                </c:pt>
                <c:pt idx="2">
                  <c:v>11.7</c:v>
                </c:pt>
                <c:pt idx="3">
                  <c:v>12.7</c:v>
                </c:pt>
              </c:numCache>
            </c:numRef>
          </c:val>
        </c:ser>
        <c:dLbls>
          <c:showVal val="1"/>
        </c:dLbls>
        <c:marker val="1"/>
        <c:axId val="42011264"/>
        <c:axId val="42013056"/>
      </c:lineChart>
      <c:catAx>
        <c:axId val="42011264"/>
        <c:scaling>
          <c:orientation val="minMax"/>
        </c:scaling>
        <c:axPos val="b"/>
        <c:numFmt formatCode="General" sourceLinked="1"/>
        <c:majorTickMark val="none"/>
        <c:tickLblPos val="nextTo"/>
        <c:crossAx val="42013056"/>
        <c:crosses val="autoZero"/>
        <c:auto val="1"/>
        <c:lblAlgn val="ctr"/>
        <c:lblOffset val="100"/>
      </c:catAx>
      <c:valAx>
        <c:axId val="42013056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420112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5152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338342959041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318E-2"/>
                </c:manualLayout>
              </c:layout>
              <c:showVal val="1"/>
            </c:dLbl>
            <c:dLbl>
              <c:idx val="3"/>
              <c:layout>
                <c:manualLayout>
                  <c:x val="5.5813067183815906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527.6</c:v>
                </c:pt>
                <c:pt idx="1">
                  <c:v>583.29999999999995</c:v>
                </c:pt>
                <c:pt idx="2">
                  <c:v>588</c:v>
                </c:pt>
                <c:pt idx="3">
                  <c:v>5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 и субсидия на финансовое обеспечение решения вопросов местного знач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230.9</c:v>
                </c:pt>
                <c:pt idx="1">
                  <c:v>334.2</c:v>
                </c:pt>
                <c:pt idx="2">
                  <c:v>245.5</c:v>
                </c:pt>
                <c:pt idx="3">
                  <c:v>248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5906E-3"/>
                  <c:y val="-3.4083345857397612E-2"/>
                </c:manualLayout>
              </c:layout>
              <c:showVal val="1"/>
            </c:dLbl>
            <c:dLbl>
              <c:idx val="1"/>
              <c:layout>
                <c:manualLayout>
                  <c:x val="2.2325226873526052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612E-2"/>
                </c:manualLayout>
              </c:layout>
              <c:showVal val="1"/>
            </c:dLbl>
            <c:dLbl>
              <c:idx val="3"/>
              <c:layout>
                <c:manualLayout>
                  <c:x val="7.81382940573426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.2</c:v>
                </c:pt>
                <c:pt idx="1">
                  <c:v>1.2</c:v>
                </c:pt>
                <c:pt idx="2">
                  <c:v>1.2</c:v>
                </c:pt>
                <c:pt idx="3">
                  <c:v>1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0046352093086703E-2"/>
                  <c:y val="-4.0900015028876913E-2"/>
                </c:manualLayout>
              </c:layout>
              <c:showVal val="1"/>
            </c:dLbl>
            <c:dLbl>
              <c:idx val="1"/>
              <c:layout>
                <c:manualLayout>
                  <c:x val="7.81382940573426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251.3</c:v>
                </c:pt>
                <c:pt idx="1">
                  <c:v>128.1</c:v>
                </c:pt>
                <c:pt idx="2">
                  <c:v>45.6</c:v>
                </c:pt>
                <c:pt idx="3">
                  <c:v>46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3399"/>
            </a:solidFill>
          </c:spPr>
          <c:dLbls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485.8</c:v>
                </c:pt>
                <c:pt idx="1">
                  <c:v>536.1</c:v>
                </c:pt>
                <c:pt idx="2">
                  <c:v>315.7</c:v>
                </c:pt>
                <c:pt idx="3">
                  <c:v>316</c:v>
                </c:pt>
              </c:numCache>
            </c:numRef>
          </c:val>
        </c:ser>
        <c:shape val="cylinder"/>
        <c:axId val="91085056"/>
        <c:axId val="109326336"/>
        <c:axId val="0"/>
      </c:bar3DChart>
      <c:catAx>
        <c:axId val="91085056"/>
        <c:scaling>
          <c:orientation val="minMax"/>
        </c:scaling>
        <c:axPos val="b"/>
        <c:tickLblPos val="nextTo"/>
        <c:crossAx val="109326336"/>
        <c:crosses val="autoZero"/>
        <c:auto val="1"/>
        <c:lblAlgn val="ctr"/>
        <c:lblOffset val="100"/>
      </c:catAx>
      <c:valAx>
        <c:axId val="109326336"/>
        <c:scaling>
          <c:orientation val="minMax"/>
        </c:scaling>
        <c:delete val="1"/>
        <c:axPos val="l"/>
        <c:numFmt formatCode="0.0" sourceLinked="1"/>
        <c:tickLblPos val="none"/>
        <c:crossAx val="9108505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8548"/>
          <c:w val="0.77846996666311696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FF"/>
              </a:solidFill>
            </c:spPr>
          </c:dPt>
          <c:dPt>
            <c:idx val="2"/>
            <c:spPr>
              <a:solidFill>
                <a:srgbClr val="B2FC9E"/>
              </a:solidFill>
            </c:spPr>
          </c:dPt>
          <c:dPt>
            <c:idx val="3"/>
            <c:spPr>
              <a:solidFill>
                <a:srgbClr val="FFFF99"/>
              </a:solidFill>
            </c:spPr>
          </c:dPt>
          <c:dPt>
            <c:idx val="4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7922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491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620.6</c:v>
                </c:pt>
                <c:pt idx="1">
                  <c:v>1937.8</c:v>
                </c:pt>
                <c:pt idx="2">
                  <c:v>1920.8</c:v>
                </c:pt>
                <c:pt idx="3">
                  <c:v>1537.5</c:v>
                </c:pt>
                <c:pt idx="4">
                  <c:v>1556.2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16261632"/>
        <c:axId val="116263168"/>
        <c:axId val="0"/>
      </c:bar3DChart>
      <c:catAx>
        <c:axId val="11626163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/>
          </a:p>
        </c:txPr>
        <c:crossAx val="116263168"/>
        <c:crosses val="autoZero"/>
        <c:auto val="1"/>
        <c:lblAlgn val="ctr"/>
        <c:lblOffset val="100"/>
        <c:tickLblSkip val="1"/>
        <c:tickMarkSkip val="1"/>
      </c:catAx>
      <c:valAx>
        <c:axId val="116263168"/>
        <c:scaling>
          <c:orientation val="minMax"/>
        </c:scaling>
        <c:delete val="1"/>
        <c:axPos val="l"/>
        <c:numFmt formatCode="General" sourceLinked="1"/>
        <c:tickLblPos val="none"/>
        <c:crossAx val="116261632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-9.3121041355875192E-2"/>
                  <c:y val="-0.3063226423342919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06,5</a:t>
                    </a:r>
                    <a:r>
                      <a:rPr lang="ru-RU" dirty="0" smtClean="0"/>
                      <a:t> </a:t>
                    </a:r>
                  </a:p>
                  <a:p>
                    <a:r>
                      <a:rPr lang="ru-RU" dirty="0" smtClean="0"/>
                      <a:t>(63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1"/>
              <c:layout>
                <c:manualLayout>
                  <c:x val="0.10158659057004474"/>
                  <c:y val="-8.478573136038350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14,3</a:t>
                    </a:r>
                    <a:endParaRPr lang="ru-RU" dirty="0" smtClean="0"/>
                  </a:p>
                  <a:p>
                    <a:r>
                      <a:rPr lang="ru-RU" dirty="0" smtClean="0"/>
                      <a:t>(37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06.5</c:v>
                </c:pt>
                <c:pt idx="1">
                  <c:v>714.3</c:v>
                </c:pt>
              </c:numCache>
            </c:numRef>
          </c:val>
        </c:ser>
        <c:dLbls>
          <c:showVal val="1"/>
        </c:dLbls>
      </c:pie3DChart>
    </c:plotArea>
    <c:legend>
      <c:legendPos val="b"/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</cdr:x>
      <cdr:y>0.27586</cdr:y>
    </cdr:from>
    <cdr:to>
      <cdr:x>0.52</cdr:x>
      <cdr:y>0.5061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85752" y="571504"/>
          <a:ext cx="157163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2,61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04 </a:t>
          </a:r>
          <a:r>
            <a:rPr lang="ru-RU" sz="2500" dirty="0" smtClean="0"/>
            <a:t>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</cdr:x>
      <cdr:y>0.51724</cdr:y>
    </cdr:from>
    <cdr:to>
      <cdr:x>0.48276</cdr:x>
      <cdr:y>0.74751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571504" y="1071567"/>
          <a:ext cx="1152880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63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9131</cdr:x>
      <cdr:y>0.05405</cdr:y>
    </cdr:from>
    <cdr:to>
      <cdr:x>0.98062</cdr:x>
      <cdr:y>0.1981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500858" y="285753"/>
          <a:ext cx="1555246" cy="761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rPr>
            <a:t>млн.рублей</a:t>
          </a:r>
          <a:endParaRPr lang="ru-RU" sz="200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10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3A77E5-D280-4570-A409-CAD5BC180871}" type="slidenum">
              <a:rPr lang="fr-CA" smtClean="0"/>
              <a:pPr>
                <a:defRPr/>
              </a:pPr>
              <a:t>1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32F500-E0D6-420F-872B-5FFDFA63DC73}" type="slidenum">
              <a:rPr lang="fr-CA" smtClean="0"/>
              <a:pPr>
                <a:defRPr/>
              </a:pPr>
              <a:t>1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61C133-730E-46BA-B594-B63251DBCEA3}" type="slidenum">
              <a:rPr lang="fr-CA" smtClean="0"/>
              <a:pPr>
                <a:defRPr/>
              </a:pPr>
              <a:t>13</a:t>
            </a:fld>
            <a:endParaRPr lang="fr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4</a:t>
            </a:fld>
            <a:endParaRPr lang="fr-CA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5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13/02/2020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_____Microsoft_Office_Excel_97-20032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chart" Target="../charts/chart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_____Microsoft_Office_Excel_97-20033.xls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_____Microsoft_Office_Excel_97-20034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8.xml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_____Microsoft_Office_Excel_97-20035.xls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_____Microsoft_Office_Excel_97-20036.xls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_____Microsoft_Office_Excel_97-20037.xls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_____Microsoft_Office_Excel_97-20038.xls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_____Microsoft_Office_Excel_97-20039.xls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_____Microsoft_Office_Excel_97-200310.xls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_____Microsoft_Office_Excel_97-200311.xls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_____Microsoft_Office_Excel_97-200312.xls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3.xls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4.xls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_____Microsoft_Office_Excel_97-200315.xls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_____Microsoft_Office_Excel_97-200316.xls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chart" Target="../charts/chart12.xml"/><Relationship Id="rId4" Type="http://schemas.openxmlformats.org/officeDocument/2006/relationships/tags" Target="../tags/tag7.xml"/><Relationship Id="rId9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10" Type="http://schemas.openxmlformats.org/officeDocument/2006/relationships/tags" Target="../tags/tag19.xml"/><Relationship Id="rId19" Type="http://schemas.openxmlformats.org/officeDocument/2006/relationships/image" Target="../media/image1.jpeg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34" Type="http://schemas.openxmlformats.org/officeDocument/2006/relationships/image" Target="../media/image1.jpe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image" Target="../media/image36.pn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image" Target="../media/image35.png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image" Target="../media/image3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gif"/><Relationship Id="rId5" Type="http://schemas.openxmlformats.org/officeDocument/2006/relationships/image" Target="../media/image40.jpeg"/><Relationship Id="rId4" Type="http://schemas.openxmlformats.org/officeDocument/2006/relationships/image" Target="../media/image39.gi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gi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chart" Target="../charts/chart15.xml"/><Relationship Id="rId5" Type="http://schemas.openxmlformats.org/officeDocument/2006/relationships/image" Target="../media/image43.png"/><Relationship Id="rId4" Type="http://schemas.openxmlformats.org/officeDocument/2006/relationships/image" Target="../media/image1.jpe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7651" name="Picture 7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3" y="214313"/>
            <a:ext cx="1142977" cy="146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3000375" y="2786063"/>
            <a:ext cx="6477000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8681" name="Rectangle 4"/>
          <p:cNvSpPr>
            <a:spLocks noChangeArrowheads="1"/>
          </p:cNvSpPr>
          <p:nvPr/>
        </p:nvSpPr>
        <p:spPr bwMode="auto">
          <a:xfrm>
            <a:off x="1928794" y="357166"/>
            <a:ext cx="62484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ФИНАНСОВОЕ УПРАВЛЕНИЕ АДМИНИСТРАЦИИ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ОРОДА-КУРОРТА ЖЕЛЕЗНОВОДСКА СТАВРОПОЛЬСКОГО КРАЯ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8434" name="Picture 2" descr="Кавказские Минеральные Воды, Железноводск. Вид на Бештау от Лечебного парка. Фото: Pupsoid, http://ru.wikipedia.or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71942"/>
            <a:ext cx="3656244" cy="2786058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/>
        </p:nvSpPr>
        <p:spPr>
          <a:xfrm>
            <a:off x="1214414" y="1714488"/>
            <a:ext cx="7358114" cy="285752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8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ОТКРЫТЫЙ БЮДЖЕТ ДЛЯ ГРАЖДАН </a:t>
            </a:r>
            <a:endParaRPr lang="ru-RU" sz="2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о решению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«О бюджете города-курорта Железноводска Ставропольского края на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0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 и плановый период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1-2022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ов»</a:t>
            </a:r>
          </a:p>
          <a:p>
            <a:pPr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Object 92"/>
          <p:cNvGraphicFramePr>
            <a:graphicFrameLocks noGrp="1" noChangeAspect="1"/>
          </p:cNvGraphicFramePr>
          <p:nvPr>
            <p:ph idx="1"/>
          </p:nvPr>
        </p:nvGraphicFramePr>
        <p:xfrm>
          <a:off x="285720" y="1643050"/>
          <a:ext cx="8501122" cy="501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юджета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8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7358082" y="1571612"/>
            <a:ext cx="157163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2000" b="1" i="0" u="none" strike="noStrike" baseline="0" dirty="0" smtClean="0">
                <a:solidFill>
                  <a:srgbClr val="000000"/>
                </a:solidFill>
                <a:latin typeface="Calibri"/>
                <a:cs typeface="Calibri"/>
              </a:rPr>
              <a:t>млн.рублей</a:t>
            </a:r>
            <a:endParaRPr lang="ru-RU" sz="2350" b="1" i="0" u="none" strike="noStrike" baseline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85750" y="2143125"/>
          <a:ext cx="8686800" cy="3586166"/>
        </p:xfrm>
        <a:graphic>
          <a:graphicData uri="http://schemas.openxmlformats.org/drawingml/2006/table">
            <a:tbl>
              <a:tblPr/>
              <a:tblGrid>
                <a:gridCol w="1104900"/>
                <a:gridCol w="766763"/>
                <a:gridCol w="812800"/>
                <a:gridCol w="790575"/>
                <a:gridCol w="711200"/>
                <a:gridCol w="552450"/>
                <a:gridCol w="709612"/>
                <a:gridCol w="711200"/>
                <a:gridCol w="552450"/>
                <a:gridCol w="790575"/>
                <a:gridCol w="631825"/>
                <a:gridCol w="552450"/>
              </a:tblGrid>
              <a:tr h="3222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701 780,1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845 721,3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29 148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3 427,5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4,5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37 483,85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391 665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9,7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56 243,4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8 759,5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2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39 777,6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8 875,6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6 241,3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2 634,3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9,2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1 427,6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4 813,7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8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6 932,2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5 504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8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362 002,4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496 845,6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82 907,4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6 061,8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5,7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196 056,2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386 851,2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5,5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209 311,18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3 254,9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1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620 633,48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37 825,3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20 814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17 010,5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9,1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37 483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383 331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0,0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56 243,4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8 759,5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2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(+),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1 146,6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92 104,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0 438,0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9,0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005" name="Text Box 1"/>
          <p:cNvSpPr txBox="1">
            <a:spLocks noChangeArrowheads="1"/>
          </p:cNvSpPr>
          <p:nvPr/>
        </p:nvSpPr>
        <p:spPr bwMode="auto">
          <a:xfrm>
            <a:off x="7572375" y="1619250"/>
            <a:ext cx="12858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юджета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8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8916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3" y="1928803"/>
          <a:ext cx="8715405" cy="4510917"/>
        </p:xfrm>
        <a:graphic>
          <a:graphicData uri="http://schemas.openxmlformats.org/drawingml/2006/table">
            <a:tbl>
              <a:tblPr/>
              <a:tblGrid>
                <a:gridCol w="3571899"/>
                <a:gridCol w="1071570"/>
                <a:gridCol w="1071540"/>
                <a:gridCol w="1000132"/>
                <a:gridCol w="1000132"/>
                <a:gridCol w="1000132"/>
              </a:tblGrid>
              <a:tr h="57150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год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ла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И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39 777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8 875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346 241,3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1 427,6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6 932,2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22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49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983,4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80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770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305 416,9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300 605,2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06 109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0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16 53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9 079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160 669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165 450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170 274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61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 564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 835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6 647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6 995,8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  7 386,49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35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16 77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 791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17 841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4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560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0,0  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22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4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4,37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4,7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35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037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963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2 951,2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2 690,2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  3 329,8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1 708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8 239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32 073,9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35 282,6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38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837,1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1 226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4 015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79 532,0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79 697,4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80 117,8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 0,0  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 0,0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   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 0,0   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 92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 842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5 698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5 924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6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159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 89 794,2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      68 105,2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40 824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40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7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Доходы от использования муниципального имущества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   74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98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3 061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36 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36 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36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неналоговые доход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11,87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5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43,26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47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 545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  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45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9940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313" y="1928801"/>
          <a:ext cx="8643997" cy="4525085"/>
        </p:xfrm>
        <a:graphic>
          <a:graphicData uri="http://schemas.openxmlformats.org/drawingml/2006/table">
            <a:tbl>
              <a:tblPr/>
              <a:tblGrid>
                <a:gridCol w="3214679"/>
                <a:gridCol w="1143008"/>
                <a:gridCol w="1000132"/>
                <a:gridCol w="1065702"/>
                <a:gridCol w="1110238"/>
                <a:gridCol w="1110238"/>
              </a:tblGrid>
              <a:tr h="6034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год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49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И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39 777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8 875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346 241,3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1 427,6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6 932,2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5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249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983,4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280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770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305 416,9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00 605,2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306 109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4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89 794,2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      68 105,2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40 824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57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362 002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496 845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1 582 907,49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196 056,2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209 311,1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92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56 547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9 424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334 227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245 489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248 701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44 273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27 294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536 056,0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15 733,0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15 956,5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86 008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27 586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583 318,8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588 036,2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596 961,7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15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2 339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51 297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128 064,9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45 557,2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46 451,1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77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243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6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8 939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10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701 78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845 72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1 929 148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537 483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1 556 243,4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поступлений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pic>
        <p:nvPicPr>
          <p:cNvPr id="2052" name="Picture 4" descr="C:\Users\ZhRibSP\Desktop\Рисунок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5720" y="1643050"/>
            <a:ext cx="8644182" cy="563126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налоговых и неналоговых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graphicFrame>
        <p:nvGraphicFramePr>
          <p:cNvPr id="211970" name="Object 3"/>
          <p:cNvGraphicFramePr>
            <a:graphicFrameLocks noChangeAspect="1"/>
          </p:cNvGraphicFramePr>
          <p:nvPr/>
        </p:nvGraphicFramePr>
        <p:xfrm>
          <a:off x="142844" y="1214422"/>
          <a:ext cx="9144000" cy="5400676"/>
        </p:xfrm>
        <a:graphic>
          <a:graphicData uri="http://schemas.openxmlformats.org/presentationml/2006/ole">
            <p:oleObj spid="_x0000_s211970" name="Worksheet" r:id="rId5" imgW="7315110" imgH="394335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571528"/>
            <a:ext cx="9144000" cy="7429552"/>
          </a:xfrm>
          <a:prstGeom prst="rect">
            <a:avLst/>
          </a:prstGeom>
          <a:noFill/>
        </p:spPr>
      </p:pic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7643834" y="1377938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75" name="Object 4"/>
          <p:cNvGraphicFramePr>
            <a:graphicFrameLocks noGrp="1" noChangeAspect="1"/>
          </p:cNvGraphicFramePr>
          <p:nvPr/>
        </p:nvGraphicFramePr>
        <p:xfrm>
          <a:off x="-428660" y="1928802"/>
          <a:ext cx="9869488" cy="3673475"/>
        </p:xfrm>
        <a:graphic>
          <a:graphicData uri="http://schemas.openxmlformats.org/presentationml/2006/ole">
            <p:oleObj spid="_x0000_s3075" name="Worksheet" r:id="rId4" imgW="5352927" imgH="199076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File"/>
          <p:cNvSpPr>
            <a:spLocks noEditPoints="1" noChangeArrowheads="1"/>
          </p:cNvSpPr>
          <p:nvPr/>
        </p:nvSpPr>
        <p:spPr bwMode="auto">
          <a:xfrm>
            <a:off x="500063" y="4786322"/>
            <a:ext cx="8643937" cy="185738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3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0 году </a:t>
            </a:r>
            <a:r>
              <a:rPr lang="ru-RU" sz="1800" b="1" dirty="0" err="1" smtClean="0">
                <a:solidFill>
                  <a:schemeClr val="tx2">
                    <a:lumMod val="75000"/>
                  </a:schemeClr>
                </a:solidFill>
              </a:rPr>
              <a:t>прогнозн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 составят 160,7 млн. руб., что выше плановых назначений на 2019 год на 11,6 млн. руб. или на 7,8 %. 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0" y="2786058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7158" y="3714752"/>
            <a:ext cx="12538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 smtClean="0"/>
              <a:t>53,10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000232" y="1571612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929058" y="2428868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6000760" y="1071546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1000100" y="2643182"/>
            <a:ext cx="64294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aphicFrame>
        <p:nvGraphicFramePr>
          <p:cNvPr id="18" name="Диаграмма 17"/>
          <p:cNvGraphicFramePr/>
          <p:nvPr/>
        </p:nvGraphicFramePr>
        <p:xfrm>
          <a:off x="357158" y="1214422"/>
          <a:ext cx="857256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214290"/>
            <a:ext cx="778674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14810" y="4786322"/>
            <a:ext cx="4500594" cy="1785950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smtClean="0">
                <a:solidFill>
                  <a:schemeClr val="tx1"/>
                </a:solidFill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</a:rPr>
              <a:t>20</a:t>
            </a:r>
            <a:r>
              <a:rPr lang="x-none" sz="1600" smtClean="0">
                <a:solidFill>
                  <a:schemeClr val="tx1"/>
                </a:solidFill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</a:rPr>
              <a:t>выше уровня ожидаемых поступлений в 2019 году на 3,9 млн.руб. или на 13,8 % </a:t>
            </a:r>
            <a:r>
              <a:rPr lang="x-none" sz="1600" smtClean="0">
                <a:solidFill>
                  <a:schemeClr val="tx1"/>
                </a:solidFill>
              </a:rPr>
              <a:t>в связи с увеличением общей кадастровой стоимости объектов</a:t>
            </a:r>
            <a:r>
              <a:rPr lang="ru-RU" sz="1600" dirty="0" smtClean="0">
                <a:solidFill>
                  <a:schemeClr val="tx1"/>
                </a:solidFill>
              </a:rPr>
              <a:t> налогообложения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85786" y="4857760"/>
            <a:ext cx="3071834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Доходы бюджета города по земельному налогу в 2020 году выше уровня ожидаемых поступлений в 2019 году на 5,5 млн. руб. или на 7,4%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7524750" y="112553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85852" y="142852"/>
            <a:ext cx="7215238" cy="9286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еналоговых доходов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</a:t>
            </a: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8596" y="4572008"/>
            <a:ext cx="5214974" cy="207170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доходов бюджета города от штрафов, санкций и возмещения ущерба на 2020-2022 годы прогнозируются в сумме 1, 1 млн. руб., что ниже ожидаемых поступлений на 2019 год на 2,6 млн.руб. или на 70,3 % в связи с изменением бюджетного законодательства  с 01 января 2020 года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857884" y="4500570"/>
            <a:ext cx="2786082" cy="2143140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 ожидаемые в 2019 году составят 43,1 млн. руб. и 36,3 млн. руб. в 2020-2022 годах ежегодно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100" name="Object 3"/>
          <p:cNvGraphicFramePr>
            <a:graphicFrameLocks noGrp="1" noChangeAspect="1"/>
          </p:cNvGraphicFramePr>
          <p:nvPr>
            <p:ph/>
          </p:nvPr>
        </p:nvGraphicFramePr>
        <p:xfrm>
          <a:off x="500034" y="1428736"/>
          <a:ext cx="8432800" cy="2914650"/>
        </p:xfrm>
        <a:graphic>
          <a:graphicData uri="http://schemas.openxmlformats.org/presentationml/2006/ole">
            <p:oleObj spid="_x0000_s4100" name="Worksheet" r:id="rId4" imgW="6696000" imgH="231457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500034" y="214290"/>
            <a:ext cx="8286808" cy="321471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Железноводск - самый северный, самый маленький и самый живописный курорт Кавказских Минеральных вод. Население города составляет более 50 тысяч человек. Вместе с тем, Железноводск - самый большой по занимаемой территории город Кавказских Минеральных Вод </a:t>
            </a:r>
            <a:r>
              <a:rPr lang="ru-RU" sz="2400" smtClean="0">
                <a:latin typeface="Times New Roman" pitchFamily="18" charset="0"/>
                <a:cs typeface="Times New Roman" pitchFamily="18" charset="0"/>
              </a:rPr>
              <a:t>(9313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га). В административные границы Железноводска входят: поселок Иноземцево, микрорайон Бештау, жилые районы - Капельница и Розы Люксембург.</a:t>
            </a:r>
            <a:endParaRPr lang="ru-RU" sz="2400" b="1" i="1" kern="0" dirty="0" smtClean="0">
              <a:solidFill>
                <a:schemeClr val="bg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17410" name="Picture 2" descr="https://ferratau.3dn.ru/_ph/3/65214675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8243" y="3284286"/>
            <a:ext cx="7318533" cy="343086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Object 3"/>
          <p:cNvGraphicFramePr>
            <a:graphicFrameLocks noGrp="1" noChangeAspect="1"/>
          </p:cNvGraphicFramePr>
          <p:nvPr/>
        </p:nvGraphicFramePr>
        <p:xfrm>
          <a:off x="285720" y="1357298"/>
          <a:ext cx="8429684" cy="4000528"/>
        </p:xfrm>
        <a:graphic>
          <a:graphicData uri="http://schemas.openxmlformats.org/presentationml/2006/ole">
            <p:oleObj spid="_x0000_s83970" name="Worksheet" r:id="rId4" imgW="8067600" imgH="3324135" progId="Excel.Sheet.8">
              <p:embed/>
            </p:oleObj>
          </a:graphicData>
        </a:graphic>
      </p:graphicFrame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572396" y="128586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8596" y="5429264"/>
            <a:ext cx="8572560" cy="100013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доходов от использования имущества находящегося в муниципальной собственности обусловлено изменением действующих ставок арендной платы за земельные участки, размер арендной платы определяется в размере земельного налога.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14290"/>
            <a:ext cx="7215238" cy="10715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безвозмездных поступлений в бюджет 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4" name="AutoShape 2"/>
          <p:cNvSpPr>
            <a:spLocks noChangeArrowheads="1"/>
          </p:cNvSpPr>
          <p:nvPr/>
        </p:nvSpPr>
        <p:spPr bwMode="auto">
          <a:xfrm>
            <a:off x="1142976" y="214290"/>
            <a:ext cx="70770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расходов бюджета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7" name="Object 92"/>
          <p:cNvGraphicFramePr>
            <a:graphicFrameLocks noChangeAspect="1"/>
          </p:cNvGraphicFramePr>
          <p:nvPr/>
        </p:nvGraphicFramePr>
        <p:xfrm>
          <a:off x="214282" y="1357298"/>
          <a:ext cx="8215339" cy="528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5" name="Группа 9"/>
          <p:cNvGrpSpPr/>
          <p:nvPr/>
        </p:nvGrpSpPr>
        <p:grpSpPr>
          <a:xfrm rot="952971">
            <a:off x="1802672" y="3368298"/>
            <a:ext cx="2395384" cy="978662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6" name="Стрелка вверх 5"/>
            <p:cNvSpPr/>
            <p:nvPr>
              <p:custDataLst>
                <p:tags r:id="rId3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25"/>
          <p:cNvGrpSpPr/>
          <p:nvPr/>
        </p:nvGrpSpPr>
        <p:grpSpPr>
          <a:xfrm rot="409763">
            <a:off x="4196318" y="3868522"/>
            <a:ext cx="1398324" cy="227577"/>
            <a:chOff x="1389359" y="3286222"/>
            <a:chExt cx="1435312" cy="285556"/>
          </a:xfrm>
          <a:solidFill>
            <a:srgbClr val="FF6600"/>
          </a:solidFill>
        </p:grpSpPr>
        <p:sp>
          <p:nvSpPr>
            <p:cNvPr id="9" name="Стрелка вверх 8"/>
            <p:cNvSpPr/>
            <p:nvPr>
              <p:custDataLst>
                <p:tags r:id="rId2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6600"/>
                  </a:gs>
                  <a:gs pos="2000">
                    <a:srgbClr val="FFC000">
                      <a:alpha val="28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34"/>
          <p:cNvGrpSpPr/>
          <p:nvPr/>
        </p:nvGrpSpPr>
        <p:grpSpPr>
          <a:xfrm rot="265559">
            <a:off x="5494592" y="3642673"/>
            <a:ext cx="1203388" cy="491224"/>
            <a:chOff x="6228184" y="3098549"/>
            <a:chExt cx="1697532" cy="570291"/>
          </a:xfrm>
          <a:solidFill>
            <a:srgbClr val="00B050"/>
          </a:solidFill>
        </p:grpSpPr>
        <p:sp>
          <p:nvSpPr>
            <p:cNvPr id="13" name="Стрелка вверх 12"/>
            <p:cNvSpPr/>
            <p:nvPr>
              <p:custDataLst>
                <p:tags r:id="rId1"/>
              </p:custDataLst>
            </p:nvPr>
          </p:nvSpPr>
          <p:spPr>
            <a:xfrm rot="4633723">
              <a:off x="7654438" y="3112827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 flipH="1">
              <a:off x="6228184" y="3346526"/>
              <a:ext cx="1279878" cy="322314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8320" name="File"/>
          <p:cNvSpPr>
            <a:spLocks noEditPoints="1" noChangeArrowheads="1"/>
          </p:cNvSpPr>
          <p:nvPr/>
        </p:nvSpPr>
        <p:spPr bwMode="auto">
          <a:xfrm>
            <a:off x="4857752" y="1357298"/>
            <a:ext cx="3786214" cy="42862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" name="File"/>
          <p:cNvSpPr>
            <a:spLocks noEditPoints="1" noChangeArrowheads="1"/>
          </p:cNvSpPr>
          <p:nvPr/>
        </p:nvSpPr>
        <p:spPr bwMode="auto">
          <a:xfrm>
            <a:off x="4857752" y="270986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" name="File"/>
          <p:cNvSpPr>
            <a:spLocks noEditPoints="1" noChangeArrowheads="1"/>
          </p:cNvSpPr>
          <p:nvPr/>
        </p:nvSpPr>
        <p:spPr bwMode="auto">
          <a:xfrm>
            <a:off x="4857751" y="5145110"/>
            <a:ext cx="3857653" cy="71278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4" name="File"/>
          <p:cNvSpPr>
            <a:spLocks noEditPoints="1" noChangeArrowheads="1"/>
          </p:cNvSpPr>
          <p:nvPr/>
        </p:nvSpPr>
        <p:spPr bwMode="auto">
          <a:xfrm>
            <a:off x="4857752" y="192880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5" name="File"/>
          <p:cNvSpPr>
            <a:spLocks noEditPoints="1" noChangeArrowheads="1"/>
          </p:cNvSpPr>
          <p:nvPr/>
        </p:nvSpPr>
        <p:spPr bwMode="auto">
          <a:xfrm>
            <a:off x="4857752" y="4352948"/>
            <a:ext cx="3857652" cy="64768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6" name="File"/>
          <p:cNvSpPr>
            <a:spLocks noEditPoints="1" noChangeArrowheads="1"/>
          </p:cNvSpPr>
          <p:nvPr/>
        </p:nvSpPr>
        <p:spPr bwMode="auto">
          <a:xfrm>
            <a:off x="4857752" y="5996010"/>
            <a:ext cx="3929090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4857753" y="1500174"/>
            <a:ext cx="3786214" cy="26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Образование (611,8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32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4857752" y="2928934"/>
            <a:ext cx="3857652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  <a:defRPr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Социальная политика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59,1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19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4857752" y="2071678"/>
            <a:ext cx="392904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Жилищно-коммунальное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хозяйство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91,7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–20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4929190" y="4500571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Национальная экономика 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62,4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 – 9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4929190" y="5357826"/>
            <a:ext cx="3714776" cy="4801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Общегосударственные вопросы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45,2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8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4929190" y="6143644"/>
            <a:ext cx="3857611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кинематография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46,9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2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3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Основные направления финансирования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 2020 году</a:t>
            </a:r>
            <a:endParaRPr lang="ru-RU" b="1" spc="5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25" name="Диаграмма 24"/>
          <p:cNvGraphicFramePr/>
          <p:nvPr/>
        </p:nvGraphicFramePr>
        <p:xfrm>
          <a:off x="214282" y="1643050"/>
          <a:ext cx="4500594" cy="464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Text Box 1"/>
          <p:cNvSpPr txBox="1">
            <a:spLocks noChangeArrowheads="1"/>
          </p:cNvSpPr>
          <p:nvPr/>
        </p:nvSpPr>
        <p:spPr bwMode="auto">
          <a:xfrm>
            <a:off x="3000364" y="1285860"/>
            <a:ext cx="155524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800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млн.рублей</a:t>
            </a:r>
            <a:endParaRPr lang="ru-RU" sz="180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0" name="File"/>
          <p:cNvSpPr>
            <a:spLocks noEditPoints="1" noChangeArrowheads="1"/>
          </p:cNvSpPr>
          <p:nvPr/>
        </p:nvSpPr>
        <p:spPr bwMode="auto">
          <a:xfrm>
            <a:off x="4857752" y="3500438"/>
            <a:ext cx="3857652" cy="71438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4929190" y="3714752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Физическая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спорт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88,7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10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6086" name="Text Box 3"/>
          <p:cNvSpPr txBox="1">
            <a:spLocks noChangeArrowheads="1"/>
          </p:cNvSpPr>
          <p:nvPr/>
        </p:nvSpPr>
        <p:spPr bwMode="auto">
          <a:xfrm>
            <a:off x="7900987" y="200024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6087" name="Text Box 4"/>
          <p:cNvSpPr txBox="1">
            <a:spLocks noChangeArrowheads="1"/>
          </p:cNvSpPr>
          <p:nvPr/>
        </p:nvSpPr>
        <p:spPr bwMode="auto">
          <a:xfrm>
            <a:off x="1692275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0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8" name="Text Box 5"/>
          <p:cNvSpPr txBox="1">
            <a:spLocks noChangeArrowheads="1"/>
          </p:cNvSpPr>
          <p:nvPr/>
        </p:nvSpPr>
        <p:spPr bwMode="auto">
          <a:xfrm>
            <a:off x="4284663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1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9" name="Text Box 6"/>
          <p:cNvSpPr txBox="1">
            <a:spLocks noChangeArrowheads="1"/>
          </p:cNvSpPr>
          <p:nvPr/>
        </p:nvSpPr>
        <p:spPr bwMode="auto">
          <a:xfrm>
            <a:off x="6877050" y="1702346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90" name="AutoShape 7"/>
          <p:cNvSpPr>
            <a:spLocks noChangeArrowheads="1"/>
          </p:cNvSpPr>
          <p:nvPr/>
        </p:nvSpPr>
        <p:spPr bwMode="auto">
          <a:xfrm>
            <a:off x="1403350" y="2133600"/>
            <a:ext cx="1511300" cy="2303463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787,5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1" name="AutoShape 8"/>
          <p:cNvSpPr>
            <a:spLocks noChangeArrowheads="1"/>
          </p:cNvSpPr>
          <p:nvPr/>
        </p:nvSpPr>
        <p:spPr bwMode="auto">
          <a:xfrm>
            <a:off x="3995738" y="2357430"/>
            <a:ext cx="1439862" cy="200026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390,9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6092" name="AutoShape 9"/>
          <p:cNvSpPr>
            <a:spLocks noChangeArrowheads="1"/>
          </p:cNvSpPr>
          <p:nvPr/>
        </p:nvSpPr>
        <p:spPr bwMode="auto">
          <a:xfrm>
            <a:off x="6516688" y="2357430"/>
            <a:ext cx="1439862" cy="193517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395,5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3" name="AutoShape 10"/>
          <p:cNvSpPr>
            <a:spLocks noChangeArrowheads="1"/>
          </p:cNvSpPr>
          <p:nvPr/>
        </p:nvSpPr>
        <p:spPr bwMode="auto">
          <a:xfrm>
            <a:off x="1403350" y="4572008"/>
            <a:ext cx="1439863" cy="857256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3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4" name="AutoShape 11"/>
          <p:cNvSpPr>
            <a:spLocks noChangeArrowheads="1"/>
          </p:cNvSpPr>
          <p:nvPr/>
        </p:nvSpPr>
        <p:spPr bwMode="auto">
          <a:xfrm>
            <a:off x="3995738" y="4508500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1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5" name="AutoShape 12"/>
          <p:cNvSpPr>
            <a:spLocks noChangeArrowheads="1"/>
          </p:cNvSpPr>
          <p:nvPr/>
        </p:nvSpPr>
        <p:spPr bwMode="auto">
          <a:xfrm>
            <a:off x="6516688" y="4437063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0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6" name="AutoShape 15"/>
          <p:cNvSpPr>
            <a:spLocks/>
          </p:cNvSpPr>
          <p:nvPr/>
        </p:nvSpPr>
        <p:spPr bwMode="auto">
          <a:xfrm>
            <a:off x="1042988" y="2133600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097" name="Text Box 16"/>
          <p:cNvSpPr txBox="1">
            <a:spLocks noChangeArrowheads="1"/>
          </p:cNvSpPr>
          <p:nvPr/>
        </p:nvSpPr>
        <p:spPr bwMode="auto">
          <a:xfrm>
            <a:off x="569213" y="2928933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3,1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8" name="Text Box 17"/>
          <p:cNvSpPr txBox="1">
            <a:spLocks noChangeArrowheads="1"/>
          </p:cNvSpPr>
          <p:nvPr/>
        </p:nvSpPr>
        <p:spPr bwMode="auto">
          <a:xfrm>
            <a:off x="569213" y="4708539"/>
            <a:ext cx="430887" cy="577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9" name="Text Box 18"/>
          <p:cNvSpPr txBox="1">
            <a:spLocks noChangeArrowheads="1"/>
          </p:cNvSpPr>
          <p:nvPr/>
        </p:nvSpPr>
        <p:spPr bwMode="auto">
          <a:xfrm>
            <a:off x="3286116" y="3000372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0" name="Text Box 19"/>
          <p:cNvSpPr txBox="1">
            <a:spLocks noChangeArrowheads="1"/>
          </p:cNvSpPr>
          <p:nvPr/>
        </p:nvSpPr>
        <p:spPr bwMode="auto">
          <a:xfrm>
            <a:off x="3286116" y="4508501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1" name="Text Box 21"/>
          <p:cNvSpPr txBox="1">
            <a:spLocks noChangeArrowheads="1"/>
          </p:cNvSpPr>
          <p:nvPr/>
        </p:nvSpPr>
        <p:spPr bwMode="auto">
          <a:xfrm>
            <a:off x="5786446" y="292893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5715008" y="4357694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>
                <a:latin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</a:rPr>
              <a:t>8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3" name="AutoShape 24"/>
          <p:cNvSpPr>
            <a:spLocks/>
          </p:cNvSpPr>
          <p:nvPr/>
        </p:nvSpPr>
        <p:spPr bwMode="auto">
          <a:xfrm>
            <a:off x="1116013" y="4508500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4" name="AutoShape 25"/>
          <p:cNvSpPr>
            <a:spLocks/>
          </p:cNvSpPr>
          <p:nvPr/>
        </p:nvSpPr>
        <p:spPr bwMode="auto">
          <a:xfrm>
            <a:off x="6286513" y="2420938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5" name="AutoShape 26"/>
          <p:cNvSpPr>
            <a:spLocks/>
          </p:cNvSpPr>
          <p:nvPr/>
        </p:nvSpPr>
        <p:spPr bwMode="auto">
          <a:xfrm>
            <a:off x="3779838" y="4437063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6" name="AutoShape 28"/>
          <p:cNvSpPr>
            <a:spLocks noChangeArrowheads="1"/>
          </p:cNvSpPr>
          <p:nvPr/>
        </p:nvSpPr>
        <p:spPr bwMode="auto">
          <a:xfrm>
            <a:off x="214313" y="5786438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7" name="Содержимое 5"/>
          <p:cNvSpPr>
            <a:spLocks/>
          </p:cNvSpPr>
          <p:nvPr/>
        </p:nvSpPr>
        <p:spPr bwMode="auto">
          <a:xfrm>
            <a:off x="928662" y="5857875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46108" name="AutoShape 30"/>
          <p:cNvSpPr>
            <a:spLocks noChangeArrowheads="1"/>
          </p:cNvSpPr>
          <p:nvPr/>
        </p:nvSpPr>
        <p:spPr bwMode="auto">
          <a:xfrm>
            <a:off x="4572000" y="578643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9" name="AutoShape 31"/>
          <p:cNvSpPr>
            <a:spLocks/>
          </p:cNvSpPr>
          <p:nvPr/>
        </p:nvSpPr>
        <p:spPr bwMode="auto">
          <a:xfrm>
            <a:off x="3784596" y="2270131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0" name="AutoShape 32"/>
          <p:cNvSpPr>
            <a:spLocks/>
          </p:cNvSpPr>
          <p:nvPr/>
        </p:nvSpPr>
        <p:spPr bwMode="auto">
          <a:xfrm>
            <a:off x="6227763" y="4365625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1" name="Содержимое 5"/>
          <p:cNvSpPr>
            <a:spLocks/>
          </p:cNvSpPr>
          <p:nvPr/>
        </p:nvSpPr>
        <p:spPr bwMode="auto">
          <a:xfrm>
            <a:off x="5286375" y="5805489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000496" y="5357826"/>
            <a:ext cx="1439863" cy="285752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4,7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328611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3" name="AutoShape 10"/>
          <p:cNvSpPr>
            <a:spLocks noChangeArrowheads="1"/>
          </p:cNvSpPr>
          <p:nvPr/>
        </p:nvSpPr>
        <p:spPr bwMode="auto">
          <a:xfrm>
            <a:off x="6500826" y="5286388"/>
            <a:ext cx="1439863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29,8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4" name="AutoShape 26"/>
          <p:cNvSpPr>
            <a:spLocks/>
          </p:cNvSpPr>
          <p:nvPr/>
        </p:nvSpPr>
        <p:spPr bwMode="auto">
          <a:xfrm>
            <a:off x="378618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5" name="AutoShape 26"/>
          <p:cNvSpPr>
            <a:spLocks/>
          </p:cNvSpPr>
          <p:nvPr/>
        </p:nvSpPr>
        <p:spPr bwMode="auto">
          <a:xfrm>
            <a:off x="628651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78644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>
            <a:off x="214313" y="6357964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38" name="Содержимое 5"/>
          <p:cNvSpPr>
            <a:spLocks/>
          </p:cNvSpPr>
          <p:nvPr/>
        </p:nvSpPr>
        <p:spPr bwMode="auto">
          <a:xfrm>
            <a:off x="928662" y="6357964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214414" y="142852"/>
            <a:ext cx="7648570" cy="128588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в разрезе муниципальных программ и непрограммных  направлений деятельности на 2020 год и плановый период 2021 и 2022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179388" y="188913"/>
            <a:ext cx="8351837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5122" name="Object 5"/>
          <p:cNvGraphicFramePr>
            <a:graphicFrameLocks noChangeAspect="1"/>
          </p:cNvGraphicFramePr>
          <p:nvPr/>
        </p:nvGraphicFramePr>
        <p:xfrm>
          <a:off x="-1292225" y="1436688"/>
          <a:ext cx="12612688" cy="5153025"/>
        </p:xfrm>
        <a:graphic>
          <a:graphicData uri="http://schemas.openxmlformats.org/presentationml/2006/ole">
            <p:oleObj spid="_x0000_s5122" name="Worksheet" r:id="rId4" imgW="8277197" imgH="3381458" progId="Excel.Sheet.8">
              <p:embed/>
            </p:oleObj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70770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 на </a:t>
            </a:r>
            <a:r>
              <a:rPr lang="ru-RU" b="1" dirty="0" smtClean="0">
                <a:solidFill>
                  <a:schemeClr val="bg1"/>
                </a:solidFill>
              </a:rPr>
              <a:t>2020 </a:t>
            </a:r>
            <a:r>
              <a:rPr lang="ru-RU" b="1" dirty="0">
                <a:solidFill>
                  <a:schemeClr val="bg1"/>
                </a:solidFill>
              </a:rPr>
              <a:t>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149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214282" y="1185862"/>
          <a:ext cx="8570913" cy="5672138"/>
        </p:xfrm>
        <a:graphic>
          <a:graphicData uri="http://schemas.openxmlformats.org/presentationml/2006/ole">
            <p:oleObj spid="_x0000_s6146" name="Worksheet" r:id="rId4" imgW="6943689" imgH="4438518" progId="Excel.Sheet.8">
              <p:embed/>
            </p:oleObj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1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2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73059" name="Object 5"/>
          <p:cNvGraphicFramePr>
            <a:graphicFrameLocks noChangeAspect="1"/>
          </p:cNvGraphicFramePr>
          <p:nvPr/>
        </p:nvGraphicFramePr>
        <p:xfrm>
          <a:off x="212725" y="1192213"/>
          <a:ext cx="8882063" cy="5208587"/>
        </p:xfrm>
        <a:graphic>
          <a:graphicData uri="http://schemas.openxmlformats.org/presentationml/2006/ole">
            <p:oleObj spid="_x0000_s173059" name="Worksheet" r:id="rId4" imgW="7200943" imgH="4219602" progId="Excel.Sheet.8">
              <p:embed/>
            </p:oleObj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7107" name="Rectangle 2"/>
          <p:cNvSpPr>
            <a:spLocks noChangeArrowheads="1"/>
          </p:cNvSpPr>
          <p:nvPr/>
        </p:nvSpPr>
        <p:spPr bwMode="auto">
          <a:xfrm>
            <a:off x="285750" y="1071563"/>
            <a:ext cx="8572530" cy="157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осуществляют свою деятельность 28 муниципальных образовательных учреждений, в том числе: 14 дошкольных образовательных учреждений, 5 учреждений дополнительного образования детей, 9 общеобразовательных учреждений.</a:t>
            </a:r>
          </a:p>
        </p:txBody>
      </p:sp>
      <p:sp>
        <p:nvSpPr>
          <p:cNvPr id="47108" name="Rectangle 2"/>
          <p:cNvSpPr>
            <a:spLocks noChangeArrowheads="1"/>
          </p:cNvSpPr>
          <p:nvPr/>
        </p:nvSpPr>
        <p:spPr bwMode="auto">
          <a:xfrm>
            <a:off x="0" y="285750"/>
            <a:ext cx="9144000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>
              <a:solidFill>
                <a:srgbClr val="7030A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28596" y="3500438"/>
          <a:ext cx="8143875" cy="315279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42942"/>
                <a:gridCol w="2214558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аз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6 393,9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6 178,3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11 793,4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00 435,8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8 786,8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школьно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 168,4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82 741,4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18 546,8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5 776,9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4 115,2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10 565,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14 594,7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2 736,9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5 516,7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4 934,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полнительное образование дет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 271,3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3</a:t>
                      </a: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615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5 665,0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4 348,4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4 960,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олодежная поли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414,5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765,9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216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216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 184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ругие вопросы в области образова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 974,3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460,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627,5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576,6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592,2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</a:tbl>
          </a:graphicData>
        </a:graphic>
      </p:graphicFrame>
      <p:sp>
        <p:nvSpPr>
          <p:cNvPr id="47174" name="Rectangle 1"/>
          <p:cNvSpPr>
            <a:spLocks noChangeArrowheads="1"/>
          </p:cNvSpPr>
          <p:nvPr/>
        </p:nvSpPr>
        <p:spPr bwMode="auto">
          <a:xfrm>
            <a:off x="1500166" y="271462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71604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9154" name="AutoShape 2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8" name="AutoShape 6" descr="ÐÐ»Ð»ÑÑÑÑÐ°ÑÐ¸Ñ Ð´ÐµÑÐµÐ¹, ÑÐ¸Ð´Ñ Ð½Ð° ÑÐºÐ°Ð¼ÐµÐ¹ÐºÐµ Ð²Ð¾ Ð²ÑÐµÐ¼Ñ ÑÑÐµÐ½Ð¸Ñ Ð¤Ð¾ÑÐ¾ ÑÐ¾ ÑÑÐ¾ÐºÐ° - 1910985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60" name="AutoShape 8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8194" name="Object 12"/>
          <p:cNvGraphicFramePr>
            <a:graphicFrameLocks noGrp="1" noChangeAspect="1"/>
          </p:cNvGraphicFramePr>
          <p:nvPr/>
        </p:nvGraphicFramePr>
        <p:xfrm>
          <a:off x="650875" y="2955950"/>
          <a:ext cx="6494463" cy="4044950"/>
        </p:xfrm>
        <a:graphic>
          <a:graphicData uri="http://schemas.openxmlformats.org/presentationml/2006/ole">
            <p:oleObj spid="_x0000_s8194" name="Worksheet" r:id="rId4" imgW="5257908" imgH="3114764" progId="Excel.Sheet.8">
              <p:embed/>
            </p:oleObj>
          </a:graphicData>
        </a:graphic>
      </p:graphicFrame>
      <p:sp>
        <p:nvSpPr>
          <p:cNvPr id="8196" name="Text Box 7"/>
          <p:cNvSpPr txBox="1">
            <a:spLocks noChangeArrowheads="1"/>
          </p:cNvSpPr>
          <p:nvPr/>
        </p:nvSpPr>
        <p:spPr bwMode="auto">
          <a:xfrm>
            <a:off x="6500826" y="3255963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8197" name="Rectangle 2"/>
          <p:cNvSpPr>
            <a:spLocks noChangeArrowheads="1"/>
          </p:cNvSpPr>
          <p:nvPr/>
        </p:nvSpPr>
        <p:spPr bwMode="auto">
          <a:xfrm>
            <a:off x="357158" y="857232"/>
            <a:ext cx="8501122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по отрасли </a:t>
            </a:r>
            <a:r>
              <a:rPr lang="ru-RU" sz="1400" dirty="0"/>
              <a:t>в </a:t>
            </a:r>
            <a:r>
              <a:rPr lang="ru-RU" sz="1400" dirty="0" smtClean="0"/>
              <a:t>2019 и в 2020 годах </a:t>
            </a:r>
            <a:r>
              <a:rPr lang="ru-RU" sz="1400" dirty="0"/>
              <a:t>связано с </a:t>
            </a:r>
            <a:r>
              <a:rPr lang="ru-RU" sz="1400" dirty="0" smtClean="0"/>
              <a:t> капитальными вложениями в с</a:t>
            </a:r>
            <a:r>
              <a:rPr lang="ru-RU" sz="1400" dirty="0" smtClean="0">
                <a:solidFill>
                  <a:srgbClr val="000000"/>
                </a:solidFill>
                <a:latin typeface="Times New Roman"/>
              </a:rPr>
              <a:t>троительство детского сада-ясли на 150 мест в жилом районе Капельница по ул.Виноградной, 3 города Железноводска, а также с повышением заработной платы </a:t>
            </a:r>
            <a:r>
              <a:rPr lang="ru-RU" sz="1400" dirty="0" smtClean="0"/>
              <a:t>муниципальных служащих на 20 %, и лиц, не замещающих должности муниципальной службы, а также работников муниципальных учреждений на 4,3%.</a:t>
            </a:r>
            <a:endParaRPr lang="ru-RU" sz="1400" dirty="0"/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2000232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AutoShape 4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25" y="857232"/>
            <a:ext cx="7715250" cy="5334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85786" y="4643446"/>
            <a:ext cx="1133475" cy="1500198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43240" y="4643446"/>
            <a:ext cx="1214446" cy="142876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86438" y="4500570"/>
            <a:ext cx="3000375" cy="92868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Дефицит бюджета </a:t>
            </a:r>
            <a:r>
              <a:rPr lang="ru-RU" sz="1600" b="1" dirty="0">
                <a:solidFill>
                  <a:schemeClr val="tx1"/>
                </a:solidFill>
              </a:rPr>
              <a:t>– превышение расходов бюджета над его до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786438" y="5572140"/>
            <a:ext cx="3000375" cy="92868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Профицит бюджета</a:t>
            </a:r>
            <a:r>
              <a:rPr lang="ru-RU" sz="1600" b="1" dirty="0">
                <a:solidFill>
                  <a:schemeClr val="tx1"/>
                </a:solidFill>
              </a:rPr>
              <a:t> – превышение доходов бюджета над его рас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10" name="Прямоугольник 27"/>
          <p:cNvSpPr>
            <a:spLocks noChangeArrowheads="1"/>
          </p:cNvSpPr>
          <p:nvPr/>
        </p:nvSpPr>
        <p:spPr bwMode="auto">
          <a:xfrm>
            <a:off x="4714876" y="4786322"/>
            <a:ext cx="7143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7200" b="1" dirty="0">
                <a:cs typeface="Times New Roman" pitchFamily="18" charset="0"/>
              </a:rPr>
              <a:t>=</a:t>
            </a:r>
          </a:p>
        </p:txBody>
      </p:sp>
      <p:sp>
        <p:nvSpPr>
          <p:cNvPr id="29712" name="Прямоугольник 29"/>
          <p:cNvSpPr>
            <a:spLocks noChangeArrowheads="1"/>
          </p:cNvSpPr>
          <p:nvPr/>
        </p:nvSpPr>
        <p:spPr bwMode="auto">
          <a:xfrm>
            <a:off x="2285984" y="4643446"/>
            <a:ext cx="71437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8000" b="1" dirty="0">
                <a:cs typeface="Times New Roman" pitchFamily="18" charset="0"/>
              </a:rPr>
              <a:t>-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39" y="1714500"/>
            <a:ext cx="2000235" cy="1643062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43125" y="4071942"/>
            <a:ext cx="4929188" cy="3905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 исполнения бюджета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43702" y="1714500"/>
            <a:ext cx="2143140" cy="1571624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Picture 2" descr="картинки кошелек с деньгам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59" y="1785927"/>
            <a:ext cx="1500197" cy="1875704"/>
          </a:xfrm>
          <a:prstGeom prst="rect">
            <a:avLst/>
          </a:prstGeom>
          <a:noFill/>
        </p:spPr>
      </p:pic>
      <p:sp>
        <p:nvSpPr>
          <p:cNvPr id="15" name="Стрелка вправо 14"/>
          <p:cNvSpPr/>
          <p:nvPr/>
        </p:nvSpPr>
        <p:spPr>
          <a:xfrm>
            <a:off x="2857488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572132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 rot="20959600">
            <a:off x="3974385" y="2789776"/>
            <a:ext cx="1643074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бюджет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220" name="Text Box 7"/>
          <p:cNvSpPr txBox="1">
            <a:spLocks noChangeArrowheads="1"/>
          </p:cNvSpPr>
          <p:nvPr/>
        </p:nvSpPr>
        <p:spPr bwMode="auto">
          <a:xfrm>
            <a:off x="6715140" y="2071678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тыс. 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Образование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9218" name="Object 3"/>
          <p:cNvGraphicFramePr>
            <a:graphicFrameLocks noGrp="1" noChangeAspect="1"/>
          </p:cNvGraphicFramePr>
          <p:nvPr/>
        </p:nvGraphicFramePr>
        <p:xfrm>
          <a:off x="1000100" y="2571744"/>
          <a:ext cx="7035800" cy="2882900"/>
        </p:xfrm>
        <a:graphic>
          <a:graphicData uri="http://schemas.openxmlformats.org/presentationml/2006/ole">
            <p:oleObj spid="_x0000_s9218" name="Worksheet" r:id="rId4" imgW="5334032" imgH="2190781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642910" y="1071563"/>
            <a:ext cx="8215370" cy="1071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действует 14 дошкольных образовательных учреждений - детских садов, в которых обучается 2 </a:t>
            </a:r>
            <a:r>
              <a:rPr lang="ru-RU" sz="1400" dirty="0" smtClean="0"/>
              <a:t>650 </a:t>
            </a:r>
            <a:r>
              <a:rPr lang="ru-RU" sz="1400" dirty="0"/>
              <a:t>детей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428596" y="3357562"/>
          <a:ext cx="8286750" cy="285751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09750"/>
                <a:gridCol w="879475"/>
                <a:gridCol w="954113"/>
                <a:gridCol w="928694"/>
                <a:gridCol w="1214406"/>
                <a:gridCol w="1274762"/>
                <a:gridCol w="1225550"/>
              </a:tblGrid>
              <a:tr h="8746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RobotoLigh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/2018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/2018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3734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образовательные школы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857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978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 117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165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45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08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3347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22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23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25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857356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Дошко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00166" y="2357430"/>
            <a:ext cx="6357982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Общее и дополните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285750" y="1428750"/>
            <a:ext cx="8572500" cy="714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ка, Пушкинская галерея, Городской Дворец культуры.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00034" y="3357562"/>
          <a:ext cx="8143875" cy="286734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8 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, кинематограф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63 471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 409,7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 932,2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3 119,2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2 401,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7 858,4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3 550,0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 507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 994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 512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8 0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12,6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 859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 424 ,5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 124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 888,3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49157" name="Rectangle 1"/>
          <p:cNvSpPr>
            <a:spLocks noChangeArrowheads="1"/>
          </p:cNvSpPr>
          <p:nvPr/>
        </p:nvSpPr>
        <p:spPr bwMode="auto">
          <a:xfrm>
            <a:off x="1714480" y="2643182"/>
            <a:ext cx="5697538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428728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0245" name="Text Box 7"/>
          <p:cNvSpPr txBox="1">
            <a:spLocks noChangeArrowheads="1"/>
          </p:cNvSpPr>
          <p:nvPr/>
        </p:nvSpPr>
        <p:spPr bwMode="auto">
          <a:xfrm>
            <a:off x="6500826" y="2857496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graphicFrame>
        <p:nvGraphicFramePr>
          <p:cNvPr id="10242" name="Object 12"/>
          <p:cNvGraphicFramePr>
            <a:graphicFrameLocks noGrp="1" noChangeAspect="1"/>
          </p:cNvGraphicFramePr>
          <p:nvPr/>
        </p:nvGraphicFramePr>
        <p:xfrm>
          <a:off x="1000100" y="2571744"/>
          <a:ext cx="6835775" cy="3379788"/>
        </p:xfrm>
        <a:graphic>
          <a:graphicData uri="http://schemas.openxmlformats.org/presentationml/2006/ole">
            <p:oleObj spid="_x0000_s10242" name="Worksheet" r:id="rId4" imgW="5124558" imgH="2533597" progId="Excel.Sheet.8">
              <p:embed/>
            </p:oleObj>
          </a:graphicData>
        </a:graphic>
      </p:graphicFrame>
      <p:sp>
        <p:nvSpPr>
          <p:cNvPr id="10246" name="Rectangle 2"/>
          <p:cNvSpPr>
            <a:spLocks noChangeArrowheads="1"/>
          </p:cNvSpPr>
          <p:nvPr/>
        </p:nvSpPr>
        <p:spPr bwMode="auto">
          <a:xfrm>
            <a:off x="357188" y="1142984"/>
            <a:ext cx="857250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по отрасли </a:t>
            </a:r>
            <a:r>
              <a:rPr lang="ru-RU" sz="1400" dirty="0"/>
              <a:t>в </a:t>
            </a:r>
            <a:r>
              <a:rPr lang="ru-RU" sz="1400" dirty="0" smtClean="0"/>
              <a:t>2018 году было </a:t>
            </a:r>
            <a:r>
              <a:rPr lang="ru-RU" sz="1400" dirty="0"/>
              <a:t>обусловлено выделением средств на </a:t>
            </a:r>
            <a:r>
              <a:rPr lang="ru-RU" sz="1400" dirty="0" smtClean="0"/>
              <a:t>капитальный ремонт и укрепление материально-технической базы муниципального учреждения Городской Дворец культуры города-курорта Железноводска.  Снижение расходов в 2020 году связано с окончанием мероприятий по централизации бухгалтерского учета муниципальных учреждений города в муниципальное бюджетное учреждение "Учетный центр" города-курорта Железноводска Ставропольского края, а также снижение количества разовых работ и мероприятий, проводимых в городе.</a:t>
            </a:r>
            <a:endParaRPr lang="ru-RU" sz="1400" dirty="0"/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7429520" y="1857364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/>
              <a:t>рублей</a:t>
            </a:r>
          </a:p>
        </p:txBody>
      </p:sp>
      <p:graphicFrame>
        <p:nvGraphicFramePr>
          <p:cNvPr id="11267" name="Object 3"/>
          <p:cNvGraphicFramePr>
            <a:graphicFrameLocks noGrp="1" noChangeAspect="1"/>
          </p:cNvGraphicFramePr>
          <p:nvPr/>
        </p:nvGraphicFramePr>
        <p:xfrm>
          <a:off x="995389" y="2433638"/>
          <a:ext cx="7362825" cy="2695575"/>
        </p:xfrm>
        <a:graphic>
          <a:graphicData uri="http://schemas.openxmlformats.org/presentationml/2006/ole">
            <p:oleObj spid="_x0000_s11267" name="Worksheet" r:id="rId4" imgW="5953006" imgH="2028821" progId="Excel.Sheet.8">
              <p:embed/>
            </p:oleObj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596" y="1857364"/>
          <a:ext cx="8143875" cy="351595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5471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189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48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0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87 974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22 591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9 130,5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39 571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46 768,9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3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6 086,9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0 885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1 077,1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3 746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6 111,4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4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7 738,3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7 428,9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0 755,6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7 782,2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52 026,3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7071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6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 149,5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 276,4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 297,8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 043,3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 631,14</a:t>
                      </a: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50229" name="Rectangle 1"/>
          <p:cNvSpPr>
            <a:spLocks noChangeArrowheads="1"/>
          </p:cNvSpPr>
          <p:nvPr/>
        </p:nvSpPr>
        <p:spPr bwMode="auto">
          <a:xfrm>
            <a:off x="857224" y="1214422"/>
            <a:ext cx="7548563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714480" y="357166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2290" name="Object 12"/>
          <p:cNvGraphicFramePr>
            <a:graphicFrameLocks noGrp="1" noChangeAspect="1"/>
          </p:cNvGraphicFramePr>
          <p:nvPr/>
        </p:nvGraphicFramePr>
        <p:xfrm>
          <a:off x="571472" y="2500306"/>
          <a:ext cx="6146800" cy="3911600"/>
        </p:xfrm>
        <a:graphic>
          <a:graphicData uri="http://schemas.openxmlformats.org/presentationml/2006/ole">
            <p:oleObj spid="_x0000_s12290" name="Worksheet" r:id="rId4" imgW="4610050" imgH="2933638" progId="Excel.Sheet.8">
              <p:embed/>
            </p:oleObj>
          </a:graphicData>
        </a:graphic>
      </p:graphicFrame>
      <p:sp>
        <p:nvSpPr>
          <p:cNvPr id="12293" name="Text Box 7"/>
          <p:cNvSpPr txBox="1">
            <a:spLocks noChangeArrowheads="1"/>
          </p:cNvSpPr>
          <p:nvPr/>
        </p:nvSpPr>
        <p:spPr bwMode="auto">
          <a:xfrm>
            <a:off x="6500826" y="2500306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642910" y="857233"/>
            <a:ext cx="785818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на социальную политику </a:t>
            </a:r>
            <a:r>
              <a:rPr lang="ru-RU" sz="1400" dirty="0"/>
              <a:t>в </a:t>
            </a:r>
            <a:r>
              <a:rPr lang="ru-RU" sz="1400" dirty="0" smtClean="0"/>
              <a:t>2020-м году </a:t>
            </a:r>
            <a:r>
              <a:rPr lang="ru-RU" sz="1400" dirty="0"/>
              <a:t>обусловлено увеличением </a:t>
            </a:r>
            <a:r>
              <a:rPr lang="ru-RU" sz="1400" dirty="0" smtClean="0"/>
              <a:t>объема поступающих средств из федерального, краевого и местного бюджетов на </a:t>
            </a:r>
            <a:r>
              <a:rPr lang="ru-RU" sz="1400" dirty="0"/>
              <a:t>оплату жилого помещения и коммунальных услуг, на выплаты на случай временной нетрудоспособности и в связи с материнством</a:t>
            </a:r>
            <a:r>
              <a:rPr lang="ru-RU" sz="1400" dirty="0" smtClean="0"/>
              <a:t>, на выплаты в случае рождения третьего ребенка, </a:t>
            </a:r>
            <a:r>
              <a:rPr lang="ru-RU" sz="1400" dirty="0"/>
              <a:t>на компенсации многодетным семьям на ребенка до 18 </a:t>
            </a:r>
            <a:r>
              <a:rPr lang="ru-RU" sz="1400" dirty="0" smtClean="0"/>
              <a:t>лет, на выплаты в связи с рождением (усыновлением) первого ребенка.</a:t>
            </a:r>
            <a:endParaRPr lang="ru-RU" sz="1400" dirty="0"/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71604" y="142852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3316" name="Text Box 7"/>
          <p:cNvSpPr txBox="1">
            <a:spLocks noChangeArrowheads="1"/>
          </p:cNvSpPr>
          <p:nvPr/>
        </p:nvSpPr>
        <p:spPr bwMode="auto">
          <a:xfrm>
            <a:off x="7072313" y="171448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00166" y="285728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/>
        </p:nvGraphicFramePr>
        <p:xfrm>
          <a:off x="852488" y="2495550"/>
          <a:ext cx="7656512" cy="2773363"/>
        </p:xfrm>
        <a:graphic>
          <a:graphicData uri="http://schemas.openxmlformats.org/presentationml/2006/ole">
            <p:oleObj spid="_x0000_s13316" name="Worksheet" r:id="rId4" imgW="4476699" imgH="16193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Овал 2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6,9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21,7</a:t>
              </a:r>
              <a:endParaRPr lang="ru-RU" dirty="0"/>
            </a:p>
          </p:txBody>
        </p:sp>
      </p:grpSp>
      <p:grpSp>
        <p:nvGrpSpPr>
          <p:cNvPr id="9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7,4%</a:t>
              </a:r>
            </a:p>
          </p:txBody>
        </p:sp>
        <p:grpSp>
          <p:nvGrpSpPr>
            <p:cNvPr id="11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2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6" name="Группа 13"/>
          <p:cNvGrpSpPr/>
          <p:nvPr/>
        </p:nvGrpSpPr>
        <p:grpSpPr>
          <a:xfrm>
            <a:off x="357158" y="4714884"/>
            <a:ext cx="2081846" cy="1540800"/>
            <a:chOff x="171004" y="4754736"/>
            <a:chExt cx="2268000" cy="15408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5,6</a:t>
              </a:r>
              <a:endParaRPr lang="ru-RU" dirty="0"/>
            </a:p>
          </p:txBody>
        </p:sp>
      </p:grpSp>
      <p:cxnSp>
        <p:nvCxnSpPr>
          <p:cNvPr id="20" name="Прямая соединительная линия 19"/>
          <p:cNvCxnSpPr/>
          <p:nvPr/>
        </p:nvCxnSpPr>
        <p:spPr>
          <a:xfrm>
            <a:off x="2428860" y="5715016"/>
            <a:ext cx="1143008" cy="1588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,6%</a:t>
              </a:r>
            </a:p>
          </p:txBody>
        </p:sp>
        <p:grpSp>
          <p:nvGrpSpPr>
            <p:cNvPr id="23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24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7" name="Группа 45"/>
          <p:cNvGrpSpPr/>
          <p:nvPr/>
        </p:nvGrpSpPr>
        <p:grpSpPr>
          <a:xfrm>
            <a:off x="6372200" y="1412776"/>
            <a:ext cx="2509799" cy="2318092"/>
            <a:chOff x="132904" y="4754736"/>
            <a:chExt cx="2081088" cy="1512168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5,5</a:t>
              </a:r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39,7%</a:t>
              </a:r>
            </a:p>
          </p:txBody>
        </p:sp>
        <p:grpSp>
          <p:nvGrpSpPr>
            <p:cNvPr id="34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5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41" name="Группа 39"/>
          <p:cNvGrpSpPr/>
          <p:nvPr/>
        </p:nvGrpSpPr>
        <p:grpSpPr>
          <a:xfrm>
            <a:off x="6572264" y="4857760"/>
            <a:ext cx="2081089" cy="1309824"/>
            <a:chOff x="132904" y="4754736"/>
            <a:chExt cx="2081088" cy="1512168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4,1</a:t>
              </a:r>
              <a:endParaRPr lang="ru-RU" dirty="0"/>
            </a:p>
          </p:txBody>
        </p:sp>
      </p:grpSp>
      <p:cxnSp>
        <p:nvCxnSpPr>
          <p:cNvPr id="45" name="Прямая соединительная линия 44"/>
          <p:cNvCxnSpPr/>
          <p:nvPr/>
        </p:nvCxnSpPr>
        <p:spPr>
          <a:xfrm>
            <a:off x="4857752" y="5786454"/>
            <a:ext cx="1785950" cy="15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47" name="Овал 46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9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7" name="AutoShape 2"/>
          <p:cNvSpPr>
            <a:spLocks noChangeArrowheads="1"/>
          </p:cNvSpPr>
          <p:nvPr/>
        </p:nvSpPr>
        <p:spPr bwMode="auto">
          <a:xfrm>
            <a:off x="1071538" y="142852"/>
            <a:ext cx="735811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асходы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82" y="3441398"/>
          <a:ext cx="8643938" cy="2457672"/>
        </p:xfrm>
        <a:graphic>
          <a:graphicData uri="http://schemas.openxmlformats.org/drawingml/2006/table">
            <a:tbl>
              <a:tblPr/>
              <a:tblGrid>
                <a:gridCol w="2857500"/>
                <a:gridCol w="1071563"/>
                <a:gridCol w="857250"/>
                <a:gridCol w="1000125"/>
                <a:gridCol w="857250"/>
                <a:gridCol w="1071562"/>
                <a:gridCol w="928688"/>
              </a:tblGrid>
              <a:tr h="559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1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 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расход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6622">
                <a:tc>
                  <a:txBody>
                    <a:bodyPr/>
                    <a:lstStyle/>
                    <a:p>
                      <a:pPr marL="0" marR="0" lvl="0" indent="449263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9" y="1928802"/>
            <a:ext cx="7143769" cy="92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/>
              <a:t>Поддержка инвалидов</a:t>
            </a:r>
          </a:p>
          <a:p>
            <a:pPr indent="444500">
              <a:defRPr/>
            </a:pPr>
            <a:r>
              <a:rPr lang="ru-RU" sz="1600" dirty="0"/>
              <a:t>На предоставление мер социальной поддержки, социальное обеспечение инвалидов в </a:t>
            </a:r>
            <a:r>
              <a:rPr lang="ru-RU" sz="1600" dirty="0" smtClean="0"/>
              <a:t>2020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1-2022 гг.</a:t>
            </a:r>
            <a:endParaRPr lang="ru-RU" sz="1600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11" name="Группа 14"/>
          <p:cNvGrpSpPr/>
          <p:nvPr/>
        </p:nvGrpSpPr>
        <p:grpSpPr>
          <a:xfrm>
            <a:off x="7831283" y="2001770"/>
            <a:ext cx="906104" cy="784288"/>
            <a:chOff x="-9094704" y="-3608569"/>
            <a:chExt cx="10696296" cy="9258301"/>
          </a:xfrm>
          <a:solidFill>
            <a:schemeClr val="accent1">
              <a:lumMod val="75000"/>
            </a:schemeClr>
          </a:solidFill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9094704" y="-2116318"/>
              <a:ext cx="9608854" cy="7766050"/>
            </a:xfrm>
            <a:custGeom>
              <a:avLst/>
              <a:gdLst>
                <a:gd name="T0" fmla="*/ 0 w 3578"/>
                <a:gd name="T1" fmla="*/ 1919 h 2441"/>
                <a:gd name="T2" fmla="*/ 2 w 3578"/>
                <a:gd name="T3" fmla="*/ 1916 h 2441"/>
                <a:gd name="T4" fmla="*/ 113 w 3578"/>
                <a:gd name="T5" fmla="*/ 1792 h 2441"/>
                <a:gd name="T6" fmla="*/ 335 w 3578"/>
                <a:gd name="T7" fmla="*/ 1671 h 2441"/>
                <a:gd name="T8" fmla="*/ 648 w 3578"/>
                <a:gd name="T9" fmla="*/ 1113 h 2441"/>
                <a:gd name="T10" fmla="*/ 651 w 3578"/>
                <a:gd name="T11" fmla="*/ 973 h 2441"/>
                <a:gd name="T12" fmla="*/ 690 w 3578"/>
                <a:gd name="T13" fmla="*/ 819 h 2441"/>
                <a:gd name="T14" fmla="*/ 1176 w 3578"/>
                <a:gd name="T15" fmla="*/ 87 h 2441"/>
                <a:gd name="T16" fmla="*/ 1399 w 3578"/>
                <a:gd name="T17" fmla="*/ 18 h 2441"/>
                <a:gd name="T18" fmla="*/ 1569 w 3578"/>
                <a:gd name="T19" fmla="*/ 146 h 2441"/>
                <a:gd name="T20" fmla="*/ 1589 w 3578"/>
                <a:gd name="T21" fmla="*/ 163 h 2441"/>
                <a:gd name="T22" fmla="*/ 2182 w 3578"/>
                <a:gd name="T23" fmla="*/ 459 h 2441"/>
                <a:gd name="T24" fmla="*/ 2253 w 3578"/>
                <a:gd name="T25" fmla="*/ 540 h 2441"/>
                <a:gd name="T26" fmla="*/ 2254 w 3578"/>
                <a:gd name="T27" fmla="*/ 608 h 2441"/>
                <a:gd name="T28" fmla="*/ 2275 w 3578"/>
                <a:gd name="T29" fmla="*/ 618 h 2441"/>
                <a:gd name="T30" fmla="*/ 2320 w 3578"/>
                <a:gd name="T31" fmla="*/ 681 h 2441"/>
                <a:gd name="T32" fmla="*/ 2341 w 3578"/>
                <a:gd name="T33" fmla="*/ 996 h 2441"/>
                <a:gd name="T34" fmla="*/ 2344 w 3578"/>
                <a:gd name="T35" fmla="*/ 1015 h 2441"/>
                <a:gd name="T36" fmla="*/ 2356 w 3578"/>
                <a:gd name="T37" fmla="*/ 1015 h 2441"/>
                <a:gd name="T38" fmla="*/ 2412 w 3578"/>
                <a:gd name="T39" fmla="*/ 1049 h 2441"/>
                <a:gd name="T40" fmla="*/ 2400 w 3578"/>
                <a:gd name="T41" fmla="*/ 1113 h 2441"/>
                <a:gd name="T42" fmla="*/ 2285 w 3578"/>
                <a:gd name="T43" fmla="*/ 1266 h 2441"/>
                <a:gd name="T44" fmla="*/ 2726 w 3578"/>
                <a:gd name="T45" fmla="*/ 2255 h 2441"/>
                <a:gd name="T46" fmla="*/ 3453 w 3578"/>
                <a:gd name="T47" fmla="*/ 1962 h 2441"/>
                <a:gd name="T48" fmla="*/ 3513 w 3578"/>
                <a:gd name="T49" fmla="*/ 1929 h 2441"/>
                <a:gd name="T50" fmla="*/ 3552 w 3578"/>
                <a:gd name="T51" fmla="*/ 2018 h 2441"/>
                <a:gd name="T52" fmla="*/ 3436 w 3578"/>
                <a:gd name="T53" fmla="*/ 2161 h 2441"/>
                <a:gd name="T54" fmla="*/ 2652 w 3578"/>
                <a:gd name="T55" fmla="*/ 2352 h 2441"/>
                <a:gd name="T56" fmla="*/ 2108 w 3578"/>
                <a:gd name="T57" fmla="*/ 1768 h 2441"/>
                <a:gd name="T58" fmla="*/ 2226 w 3578"/>
                <a:gd name="T59" fmla="*/ 1146 h 2441"/>
                <a:gd name="T60" fmla="*/ 2235 w 3578"/>
                <a:gd name="T61" fmla="*/ 1115 h 2441"/>
                <a:gd name="T62" fmla="*/ 2209 w 3578"/>
                <a:gd name="T63" fmla="*/ 737 h 2441"/>
                <a:gd name="T64" fmla="*/ 2203 w 3578"/>
                <a:gd name="T65" fmla="*/ 713 h 2441"/>
                <a:gd name="T66" fmla="*/ 2156 w 3578"/>
                <a:gd name="T67" fmla="*/ 699 h 2441"/>
                <a:gd name="T68" fmla="*/ 2053 w 3578"/>
                <a:gd name="T69" fmla="*/ 683 h 2441"/>
                <a:gd name="T70" fmla="*/ 1548 w 3578"/>
                <a:gd name="T71" fmla="*/ 431 h 2441"/>
                <a:gd name="T72" fmla="*/ 1526 w 3578"/>
                <a:gd name="T73" fmla="*/ 420 h 2441"/>
                <a:gd name="T74" fmla="*/ 1477 w 3578"/>
                <a:gd name="T75" fmla="*/ 483 h 2441"/>
                <a:gd name="T76" fmla="*/ 1148 w 3578"/>
                <a:gd name="T77" fmla="*/ 993 h 2441"/>
                <a:gd name="T78" fmla="*/ 1153 w 3578"/>
                <a:gd name="T79" fmla="*/ 1021 h 2441"/>
                <a:gd name="T80" fmla="*/ 1398 w 3578"/>
                <a:gd name="T81" fmla="*/ 1408 h 2441"/>
                <a:gd name="T82" fmla="*/ 1615 w 3578"/>
                <a:gd name="T83" fmla="*/ 2020 h 2441"/>
                <a:gd name="T84" fmla="*/ 1606 w 3578"/>
                <a:gd name="T85" fmla="*/ 2130 h 2441"/>
                <a:gd name="T86" fmla="*/ 1418 w 3578"/>
                <a:gd name="T87" fmla="*/ 2204 h 2441"/>
                <a:gd name="T88" fmla="*/ 1296 w 3578"/>
                <a:gd name="T89" fmla="*/ 2072 h 2441"/>
                <a:gd name="T90" fmla="*/ 1096 w 3578"/>
                <a:gd name="T91" fmla="*/ 1525 h 2441"/>
                <a:gd name="T92" fmla="*/ 956 w 3578"/>
                <a:gd name="T93" fmla="*/ 1299 h 2441"/>
                <a:gd name="T94" fmla="*/ 947 w 3578"/>
                <a:gd name="T95" fmla="*/ 1286 h 2441"/>
                <a:gd name="T96" fmla="*/ 938 w 3578"/>
                <a:gd name="T97" fmla="*/ 1323 h 2441"/>
                <a:gd name="T98" fmla="*/ 388 w 3578"/>
                <a:gd name="T99" fmla="*/ 2015 h 2441"/>
                <a:gd name="T100" fmla="*/ 205 w 3578"/>
                <a:gd name="T101" fmla="*/ 2097 h 2441"/>
                <a:gd name="T102" fmla="*/ 3 w 3578"/>
                <a:gd name="T103" fmla="*/ 1974 h 2441"/>
                <a:gd name="T104" fmla="*/ 0 w 3578"/>
                <a:gd name="T105" fmla="*/ 1967 h 2441"/>
                <a:gd name="T106" fmla="*/ 0 w 3578"/>
                <a:gd name="T107" fmla="*/ 1919 h 2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78" h="2441">
                  <a:moveTo>
                    <a:pt x="0" y="1919"/>
                  </a:moveTo>
                  <a:cubicBezTo>
                    <a:pt x="1" y="1918"/>
                    <a:pt x="2" y="1917"/>
                    <a:pt x="2" y="1916"/>
                  </a:cubicBezTo>
                  <a:cubicBezTo>
                    <a:pt x="15" y="1853"/>
                    <a:pt x="55" y="1815"/>
                    <a:pt x="113" y="1792"/>
                  </a:cubicBezTo>
                  <a:cubicBezTo>
                    <a:pt x="192" y="1761"/>
                    <a:pt x="266" y="1721"/>
                    <a:pt x="335" y="1671"/>
                  </a:cubicBezTo>
                  <a:cubicBezTo>
                    <a:pt x="523" y="1532"/>
                    <a:pt x="629" y="1347"/>
                    <a:pt x="648" y="1113"/>
                  </a:cubicBezTo>
                  <a:cubicBezTo>
                    <a:pt x="652" y="1067"/>
                    <a:pt x="652" y="1020"/>
                    <a:pt x="651" y="973"/>
                  </a:cubicBezTo>
                  <a:cubicBezTo>
                    <a:pt x="650" y="918"/>
                    <a:pt x="663" y="867"/>
                    <a:pt x="690" y="819"/>
                  </a:cubicBezTo>
                  <a:cubicBezTo>
                    <a:pt x="832" y="561"/>
                    <a:pt x="993" y="317"/>
                    <a:pt x="1176" y="87"/>
                  </a:cubicBezTo>
                  <a:cubicBezTo>
                    <a:pt x="1234" y="13"/>
                    <a:pt x="1313" y="0"/>
                    <a:pt x="1399" y="18"/>
                  </a:cubicBezTo>
                  <a:cubicBezTo>
                    <a:pt x="1475" y="33"/>
                    <a:pt x="1533" y="76"/>
                    <a:pt x="1569" y="146"/>
                  </a:cubicBezTo>
                  <a:cubicBezTo>
                    <a:pt x="1572" y="153"/>
                    <a:pt x="1581" y="159"/>
                    <a:pt x="1589" y="163"/>
                  </a:cubicBezTo>
                  <a:cubicBezTo>
                    <a:pt x="1787" y="262"/>
                    <a:pt x="1984" y="361"/>
                    <a:pt x="2182" y="459"/>
                  </a:cubicBezTo>
                  <a:cubicBezTo>
                    <a:pt x="2217" y="477"/>
                    <a:pt x="2246" y="499"/>
                    <a:pt x="2253" y="540"/>
                  </a:cubicBezTo>
                  <a:cubicBezTo>
                    <a:pt x="2257" y="561"/>
                    <a:pt x="2254" y="583"/>
                    <a:pt x="2254" y="608"/>
                  </a:cubicBezTo>
                  <a:cubicBezTo>
                    <a:pt x="2258" y="610"/>
                    <a:pt x="2266" y="615"/>
                    <a:pt x="2275" y="618"/>
                  </a:cubicBezTo>
                  <a:cubicBezTo>
                    <a:pt x="2305" y="628"/>
                    <a:pt x="2318" y="650"/>
                    <a:pt x="2320" y="681"/>
                  </a:cubicBezTo>
                  <a:cubicBezTo>
                    <a:pt x="2327" y="786"/>
                    <a:pt x="2334" y="891"/>
                    <a:pt x="2341" y="996"/>
                  </a:cubicBezTo>
                  <a:cubicBezTo>
                    <a:pt x="2341" y="1002"/>
                    <a:pt x="2343" y="1008"/>
                    <a:pt x="2344" y="1015"/>
                  </a:cubicBezTo>
                  <a:cubicBezTo>
                    <a:pt x="2348" y="1015"/>
                    <a:pt x="2352" y="1015"/>
                    <a:pt x="2356" y="1015"/>
                  </a:cubicBezTo>
                  <a:cubicBezTo>
                    <a:pt x="2382" y="1014"/>
                    <a:pt x="2401" y="1025"/>
                    <a:pt x="2412" y="1049"/>
                  </a:cubicBezTo>
                  <a:cubicBezTo>
                    <a:pt x="2422" y="1072"/>
                    <a:pt x="2418" y="1095"/>
                    <a:pt x="2400" y="1113"/>
                  </a:cubicBezTo>
                  <a:cubicBezTo>
                    <a:pt x="2355" y="1159"/>
                    <a:pt x="2316" y="1210"/>
                    <a:pt x="2285" y="1266"/>
                  </a:cubicBezTo>
                  <a:cubicBezTo>
                    <a:pt x="2068" y="1654"/>
                    <a:pt x="2292" y="2157"/>
                    <a:pt x="2726" y="2255"/>
                  </a:cubicBezTo>
                  <a:cubicBezTo>
                    <a:pt x="3011" y="2320"/>
                    <a:pt x="3290" y="2207"/>
                    <a:pt x="3453" y="1962"/>
                  </a:cubicBezTo>
                  <a:cubicBezTo>
                    <a:pt x="3467" y="1940"/>
                    <a:pt x="3485" y="1925"/>
                    <a:pt x="3513" y="1929"/>
                  </a:cubicBezTo>
                  <a:cubicBezTo>
                    <a:pt x="3556" y="1934"/>
                    <a:pt x="3578" y="1982"/>
                    <a:pt x="3552" y="2018"/>
                  </a:cubicBezTo>
                  <a:cubicBezTo>
                    <a:pt x="3516" y="2068"/>
                    <a:pt x="3481" y="2119"/>
                    <a:pt x="3436" y="2161"/>
                  </a:cubicBezTo>
                  <a:cubicBezTo>
                    <a:pt x="3212" y="2373"/>
                    <a:pt x="2946" y="2441"/>
                    <a:pt x="2652" y="2352"/>
                  </a:cubicBezTo>
                  <a:cubicBezTo>
                    <a:pt x="2362" y="2264"/>
                    <a:pt x="2179" y="2063"/>
                    <a:pt x="2108" y="1768"/>
                  </a:cubicBezTo>
                  <a:cubicBezTo>
                    <a:pt x="2055" y="1545"/>
                    <a:pt x="2099" y="1337"/>
                    <a:pt x="2226" y="1146"/>
                  </a:cubicBezTo>
                  <a:cubicBezTo>
                    <a:pt x="2232" y="1138"/>
                    <a:pt x="2236" y="1126"/>
                    <a:pt x="2235" y="1115"/>
                  </a:cubicBezTo>
                  <a:cubicBezTo>
                    <a:pt x="2227" y="989"/>
                    <a:pt x="2218" y="863"/>
                    <a:pt x="2209" y="737"/>
                  </a:cubicBezTo>
                  <a:cubicBezTo>
                    <a:pt x="2209" y="728"/>
                    <a:pt x="2208" y="715"/>
                    <a:pt x="2203" y="713"/>
                  </a:cubicBezTo>
                  <a:cubicBezTo>
                    <a:pt x="2188" y="706"/>
                    <a:pt x="2170" y="696"/>
                    <a:pt x="2156" y="699"/>
                  </a:cubicBezTo>
                  <a:cubicBezTo>
                    <a:pt x="2119" y="705"/>
                    <a:pt x="2086" y="700"/>
                    <a:pt x="2053" y="683"/>
                  </a:cubicBezTo>
                  <a:cubicBezTo>
                    <a:pt x="1885" y="599"/>
                    <a:pt x="1716" y="515"/>
                    <a:pt x="1548" y="431"/>
                  </a:cubicBezTo>
                  <a:cubicBezTo>
                    <a:pt x="1541" y="427"/>
                    <a:pt x="1535" y="424"/>
                    <a:pt x="1526" y="420"/>
                  </a:cubicBezTo>
                  <a:cubicBezTo>
                    <a:pt x="1510" y="441"/>
                    <a:pt x="1493" y="462"/>
                    <a:pt x="1477" y="483"/>
                  </a:cubicBezTo>
                  <a:cubicBezTo>
                    <a:pt x="1355" y="645"/>
                    <a:pt x="1248" y="817"/>
                    <a:pt x="1148" y="993"/>
                  </a:cubicBezTo>
                  <a:cubicBezTo>
                    <a:pt x="1140" y="1006"/>
                    <a:pt x="1146" y="1012"/>
                    <a:pt x="1153" y="1021"/>
                  </a:cubicBezTo>
                  <a:cubicBezTo>
                    <a:pt x="1247" y="1142"/>
                    <a:pt x="1328" y="1272"/>
                    <a:pt x="1398" y="1408"/>
                  </a:cubicBezTo>
                  <a:cubicBezTo>
                    <a:pt x="1498" y="1603"/>
                    <a:pt x="1569" y="1807"/>
                    <a:pt x="1615" y="2020"/>
                  </a:cubicBezTo>
                  <a:cubicBezTo>
                    <a:pt x="1623" y="2057"/>
                    <a:pt x="1622" y="2094"/>
                    <a:pt x="1606" y="2130"/>
                  </a:cubicBezTo>
                  <a:cubicBezTo>
                    <a:pt x="1575" y="2194"/>
                    <a:pt x="1495" y="2227"/>
                    <a:pt x="1418" y="2204"/>
                  </a:cubicBezTo>
                  <a:cubicBezTo>
                    <a:pt x="1351" y="2185"/>
                    <a:pt x="1311" y="2140"/>
                    <a:pt x="1296" y="2072"/>
                  </a:cubicBezTo>
                  <a:cubicBezTo>
                    <a:pt x="1255" y="1880"/>
                    <a:pt x="1191" y="1696"/>
                    <a:pt x="1096" y="1525"/>
                  </a:cubicBezTo>
                  <a:cubicBezTo>
                    <a:pt x="1053" y="1448"/>
                    <a:pt x="1003" y="1374"/>
                    <a:pt x="956" y="1299"/>
                  </a:cubicBezTo>
                  <a:cubicBezTo>
                    <a:pt x="954" y="1295"/>
                    <a:pt x="952" y="1293"/>
                    <a:pt x="947" y="1286"/>
                  </a:cubicBezTo>
                  <a:cubicBezTo>
                    <a:pt x="943" y="1300"/>
                    <a:pt x="940" y="1312"/>
                    <a:pt x="938" y="1323"/>
                  </a:cubicBezTo>
                  <a:cubicBezTo>
                    <a:pt x="858" y="1636"/>
                    <a:pt x="669" y="1862"/>
                    <a:pt x="388" y="2015"/>
                  </a:cubicBezTo>
                  <a:cubicBezTo>
                    <a:pt x="329" y="2047"/>
                    <a:pt x="268" y="2078"/>
                    <a:pt x="205" y="2097"/>
                  </a:cubicBezTo>
                  <a:cubicBezTo>
                    <a:pt x="107" y="2128"/>
                    <a:pt x="25" y="2075"/>
                    <a:pt x="3" y="1974"/>
                  </a:cubicBezTo>
                  <a:cubicBezTo>
                    <a:pt x="3" y="1972"/>
                    <a:pt x="1" y="1969"/>
                    <a:pt x="0" y="1967"/>
                  </a:cubicBezTo>
                  <a:cubicBezTo>
                    <a:pt x="0" y="1951"/>
                    <a:pt x="0" y="1935"/>
                    <a:pt x="0" y="19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-2367545" y="-1193978"/>
              <a:ext cx="3969137" cy="5924553"/>
            </a:xfrm>
            <a:custGeom>
              <a:avLst/>
              <a:gdLst>
                <a:gd name="T0" fmla="*/ 1478 w 1478"/>
                <a:gd name="T1" fmla="*/ 1725 h 1862"/>
                <a:gd name="T2" fmla="*/ 1475 w 1478"/>
                <a:gd name="T3" fmla="*/ 1732 h 1862"/>
                <a:gd name="T4" fmla="*/ 1369 w 1478"/>
                <a:gd name="T5" fmla="*/ 1846 h 1862"/>
                <a:gd name="T6" fmla="*/ 1211 w 1478"/>
                <a:gd name="T7" fmla="*/ 1798 h 1862"/>
                <a:gd name="T8" fmla="*/ 1170 w 1478"/>
                <a:gd name="T9" fmla="*/ 1730 h 1862"/>
                <a:gd name="T10" fmla="*/ 938 w 1478"/>
                <a:gd name="T11" fmla="*/ 1178 h 1862"/>
                <a:gd name="T12" fmla="*/ 930 w 1478"/>
                <a:gd name="T13" fmla="*/ 1160 h 1862"/>
                <a:gd name="T14" fmla="*/ 670 w 1478"/>
                <a:gd name="T15" fmla="*/ 1160 h 1862"/>
                <a:gd name="T16" fmla="*/ 189 w 1478"/>
                <a:gd name="T17" fmla="*/ 1157 h 1862"/>
                <a:gd name="T18" fmla="*/ 3 w 1478"/>
                <a:gd name="T19" fmla="*/ 977 h 1862"/>
                <a:gd name="T20" fmla="*/ 12 w 1478"/>
                <a:gd name="T21" fmla="*/ 780 h 1862"/>
                <a:gd name="T22" fmla="*/ 94 w 1478"/>
                <a:gd name="T23" fmla="*/ 202 h 1862"/>
                <a:gd name="T24" fmla="*/ 273 w 1478"/>
                <a:gd name="T25" fmla="*/ 21 h 1862"/>
                <a:gd name="T26" fmla="*/ 497 w 1478"/>
                <a:gd name="T27" fmla="*/ 90 h 1862"/>
                <a:gd name="T28" fmla="*/ 723 w 1478"/>
                <a:gd name="T29" fmla="*/ 341 h 1862"/>
                <a:gd name="T30" fmla="*/ 974 w 1478"/>
                <a:gd name="T31" fmla="*/ 601 h 1862"/>
                <a:gd name="T32" fmla="*/ 946 w 1478"/>
                <a:gd name="T33" fmla="*/ 831 h 1862"/>
                <a:gd name="T34" fmla="*/ 929 w 1478"/>
                <a:gd name="T35" fmla="*/ 841 h 1862"/>
                <a:gd name="T36" fmla="*/ 1005 w 1478"/>
                <a:gd name="T37" fmla="*/ 845 h 1862"/>
                <a:gd name="T38" fmla="*/ 1188 w 1478"/>
                <a:gd name="T39" fmla="*/ 973 h 1862"/>
                <a:gd name="T40" fmla="*/ 1458 w 1478"/>
                <a:gd name="T41" fmla="*/ 1611 h 1862"/>
                <a:gd name="T42" fmla="*/ 1478 w 1478"/>
                <a:gd name="T43" fmla="*/ 1673 h 1862"/>
                <a:gd name="T44" fmla="*/ 1478 w 1478"/>
                <a:gd name="T45" fmla="*/ 1725 h 1862"/>
                <a:gd name="T46" fmla="*/ 492 w 1478"/>
                <a:gd name="T47" fmla="*/ 836 h 1862"/>
                <a:gd name="T48" fmla="*/ 817 w 1478"/>
                <a:gd name="T49" fmla="*/ 843 h 1862"/>
                <a:gd name="T50" fmla="*/ 525 w 1478"/>
                <a:gd name="T51" fmla="*/ 555 h 1862"/>
                <a:gd name="T52" fmla="*/ 492 w 1478"/>
                <a:gd name="T53" fmla="*/ 836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78" h="1862">
                  <a:moveTo>
                    <a:pt x="1478" y="1725"/>
                  </a:moveTo>
                  <a:cubicBezTo>
                    <a:pt x="1477" y="1727"/>
                    <a:pt x="1475" y="1730"/>
                    <a:pt x="1475" y="1732"/>
                  </a:cubicBezTo>
                  <a:cubicBezTo>
                    <a:pt x="1464" y="1793"/>
                    <a:pt x="1428" y="1831"/>
                    <a:pt x="1369" y="1846"/>
                  </a:cubicBezTo>
                  <a:cubicBezTo>
                    <a:pt x="1306" y="1862"/>
                    <a:pt x="1253" y="1845"/>
                    <a:pt x="1211" y="1798"/>
                  </a:cubicBezTo>
                  <a:cubicBezTo>
                    <a:pt x="1194" y="1778"/>
                    <a:pt x="1180" y="1754"/>
                    <a:pt x="1170" y="1730"/>
                  </a:cubicBezTo>
                  <a:cubicBezTo>
                    <a:pt x="1092" y="1546"/>
                    <a:pt x="1015" y="1362"/>
                    <a:pt x="938" y="1178"/>
                  </a:cubicBezTo>
                  <a:cubicBezTo>
                    <a:pt x="935" y="1171"/>
                    <a:pt x="932" y="1165"/>
                    <a:pt x="930" y="1160"/>
                  </a:cubicBezTo>
                  <a:cubicBezTo>
                    <a:pt x="842" y="1160"/>
                    <a:pt x="756" y="1160"/>
                    <a:pt x="670" y="1160"/>
                  </a:cubicBezTo>
                  <a:cubicBezTo>
                    <a:pt x="510" y="1159"/>
                    <a:pt x="349" y="1159"/>
                    <a:pt x="189" y="1157"/>
                  </a:cubicBezTo>
                  <a:cubicBezTo>
                    <a:pt x="85" y="1155"/>
                    <a:pt x="9" y="1083"/>
                    <a:pt x="3" y="977"/>
                  </a:cubicBezTo>
                  <a:cubicBezTo>
                    <a:pt x="0" y="911"/>
                    <a:pt x="4" y="845"/>
                    <a:pt x="12" y="780"/>
                  </a:cubicBezTo>
                  <a:cubicBezTo>
                    <a:pt x="37" y="587"/>
                    <a:pt x="65" y="394"/>
                    <a:pt x="94" y="202"/>
                  </a:cubicBezTo>
                  <a:cubicBezTo>
                    <a:pt x="107" y="111"/>
                    <a:pt x="176" y="44"/>
                    <a:pt x="273" y="21"/>
                  </a:cubicBezTo>
                  <a:cubicBezTo>
                    <a:pt x="362" y="0"/>
                    <a:pt x="436" y="26"/>
                    <a:pt x="497" y="90"/>
                  </a:cubicBezTo>
                  <a:cubicBezTo>
                    <a:pt x="574" y="172"/>
                    <a:pt x="646" y="259"/>
                    <a:pt x="723" y="341"/>
                  </a:cubicBezTo>
                  <a:cubicBezTo>
                    <a:pt x="805" y="429"/>
                    <a:pt x="887" y="519"/>
                    <a:pt x="974" y="601"/>
                  </a:cubicBezTo>
                  <a:cubicBezTo>
                    <a:pt x="1067" y="688"/>
                    <a:pt x="1019" y="791"/>
                    <a:pt x="946" y="831"/>
                  </a:cubicBezTo>
                  <a:cubicBezTo>
                    <a:pt x="942" y="833"/>
                    <a:pt x="938" y="836"/>
                    <a:pt x="929" y="841"/>
                  </a:cubicBezTo>
                  <a:cubicBezTo>
                    <a:pt x="958" y="842"/>
                    <a:pt x="981" y="843"/>
                    <a:pt x="1005" y="845"/>
                  </a:cubicBezTo>
                  <a:cubicBezTo>
                    <a:pt x="1093" y="849"/>
                    <a:pt x="1153" y="891"/>
                    <a:pt x="1188" y="973"/>
                  </a:cubicBezTo>
                  <a:cubicBezTo>
                    <a:pt x="1277" y="1186"/>
                    <a:pt x="1368" y="1398"/>
                    <a:pt x="1458" y="1611"/>
                  </a:cubicBezTo>
                  <a:cubicBezTo>
                    <a:pt x="1466" y="1631"/>
                    <a:pt x="1471" y="1652"/>
                    <a:pt x="1478" y="1673"/>
                  </a:cubicBezTo>
                  <a:cubicBezTo>
                    <a:pt x="1478" y="1690"/>
                    <a:pt x="1478" y="1708"/>
                    <a:pt x="1478" y="1725"/>
                  </a:cubicBezTo>
                  <a:close/>
                  <a:moveTo>
                    <a:pt x="492" y="836"/>
                  </a:moveTo>
                  <a:cubicBezTo>
                    <a:pt x="603" y="838"/>
                    <a:pt x="710" y="840"/>
                    <a:pt x="817" y="843"/>
                  </a:cubicBezTo>
                  <a:cubicBezTo>
                    <a:pt x="712" y="755"/>
                    <a:pt x="621" y="656"/>
                    <a:pt x="525" y="555"/>
                  </a:cubicBezTo>
                  <a:cubicBezTo>
                    <a:pt x="514" y="651"/>
                    <a:pt x="503" y="742"/>
                    <a:pt x="492" y="8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-6338857" y="-3608569"/>
              <a:ext cx="1531024" cy="1727204"/>
            </a:xfrm>
            <a:custGeom>
              <a:avLst/>
              <a:gdLst>
                <a:gd name="T0" fmla="*/ 315 w 570"/>
                <a:gd name="T1" fmla="*/ 0 h 543"/>
                <a:gd name="T2" fmla="*/ 381 w 570"/>
                <a:gd name="T3" fmla="*/ 20 h 543"/>
                <a:gd name="T4" fmla="*/ 546 w 570"/>
                <a:gd name="T5" fmla="*/ 321 h 543"/>
                <a:gd name="T6" fmla="*/ 288 w 570"/>
                <a:gd name="T7" fmla="*/ 539 h 543"/>
                <a:gd name="T8" fmla="*/ 13 w 570"/>
                <a:gd name="T9" fmla="*/ 288 h 543"/>
                <a:gd name="T10" fmla="*/ 238 w 570"/>
                <a:gd name="T11" fmla="*/ 4 h 543"/>
                <a:gd name="T12" fmla="*/ 251 w 570"/>
                <a:gd name="T13" fmla="*/ 0 h 543"/>
                <a:gd name="T14" fmla="*/ 315 w 570"/>
                <a:gd name="T15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0" h="543">
                  <a:moveTo>
                    <a:pt x="315" y="0"/>
                  </a:moveTo>
                  <a:cubicBezTo>
                    <a:pt x="337" y="6"/>
                    <a:pt x="360" y="11"/>
                    <a:pt x="381" y="20"/>
                  </a:cubicBezTo>
                  <a:cubicBezTo>
                    <a:pt x="503" y="68"/>
                    <a:pt x="570" y="192"/>
                    <a:pt x="546" y="321"/>
                  </a:cubicBezTo>
                  <a:cubicBezTo>
                    <a:pt x="524" y="444"/>
                    <a:pt x="414" y="536"/>
                    <a:pt x="288" y="539"/>
                  </a:cubicBezTo>
                  <a:cubicBezTo>
                    <a:pt x="145" y="543"/>
                    <a:pt x="27" y="435"/>
                    <a:pt x="13" y="288"/>
                  </a:cubicBezTo>
                  <a:cubicBezTo>
                    <a:pt x="0" y="154"/>
                    <a:pt x="101" y="26"/>
                    <a:pt x="238" y="4"/>
                  </a:cubicBezTo>
                  <a:cubicBezTo>
                    <a:pt x="242" y="3"/>
                    <a:pt x="247" y="1"/>
                    <a:pt x="251" y="0"/>
                  </a:cubicBezTo>
                  <a:cubicBezTo>
                    <a:pt x="272" y="0"/>
                    <a:pt x="294" y="0"/>
                    <a:pt x="3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-2652727" y="-3064052"/>
              <a:ext cx="1496137" cy="1768470"/>
            </a:xfrm>
            <a:custGeom>
              <a:avLst/>
              <a:gdLst>
                <a:gd name="T0" fmla="*/ 278 w 557"/>
                <a:gd name="T1" fmla="*/ 0 h 556"/>
                <a:gd name="T2" fmla="*/ 556 w 557"/>
                <a:gd name="T3" fmla="*/ 279 h 556"/>
                <a:gd name="T4" fmla="*/ 278 w 557"/>
                <a:gd name="T5" fmla="*/ 556 h 556"/>
                <a:gd name="T6" fmla="*/ 0 w 557"/>
                <a:gd name="T7" fmla="*/ 278 h 556"/>
                <a:gd name="T8" fmla="*/ 278 w 557"/>
                <a:gd name="T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556">
                  <a:moveTo>
                    <a:pt x="278" y="0"/>
                  </a:moveTo>
                  <a:cubicBezTo>
                    <a:pt x="432" y="0"/>
                    <a:pt x="557" y="125"/>
                    <a:pt x="556" y="279"/>
                  </a:cubicBezTo>
                  <a:cubicBezTo>
                    <a:pt x="555" y="431"/>
                    <a:pt x="431" y="556"/>
                    <a:pt x="278" y="556"/>
                  </a:cubicBezTo>
                  <a:cubicBezTo>
                    <a:pt x="125" y="556"/>
                    <a:pt x="0" y="432"/>
                    <a:pt x="0" y="278"/>
                  </a:cubicBezTo>
                  <a:cubicBezTo>
                    <a:pt x="0" y="124"/>
                    <a:pt x="124" y="0"/>
                    <a:pt x="2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28938" y="5715000"/>
            <a:ext cx="5572125" cy="81915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униципальный долг</a:t>
            </a:r>
            <a:r>
              <a:rPr lang="ru-RU" sz="1400" b="1" dirty="0">
                <a:solidFill>
                  <a:schemeClr val="tx1"/>
                </a:solidFill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57250" y="928670"/>
            <a:ext cx="7929563" cy="50006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ежбюджетные трансферты</a:t>
            </a:r>
            <a:r>
              <a:rPr lang="ru-RU" sz="1400" b="1" dirty="0">
                <a:solidFill>
                  <a:schemeClr val="tx1"/>
                </a:solidFill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313" y="2000250"/>
            <a:ext cx="2000250" cy="242887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Дота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857875" y="2000250"/>
            <a:ext cx="2928938" cy="335756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u="sng" dirty="0">
                <a:solidFill>
                  <a:schemeClr val="tx1"/>
                </a:solidFill>
              </a:rPr>
              <a:t>Субвен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43188" y="2000250"/>
            <a:ext cx="2857500" cy="26431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Субсид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8546" name="Picture 2" descr="https://zakonoved.su/wp-content/uploads/2019/02/%D0%A1%D1%83%D0%B1%D1%81%D0%B8%D0%B4%D0%B8%D0%B8-%D0%BD%D0%B0-%D0%BE%D1%82%D0%BA%D1%80%D1%8B%D1%82%D0%B8%D0%B5-%D0%B8-%D0%BF%D0%BE%D0%B4%D0%B4%D0%B5%D1%80%D0%B6%D0%BA%D1%83-%D0%BC%D0%B0%D0%BB%D0%BE%D0%B3%D0%BE-%D0%B1%D0%B8%D0%B7%D0%BD%D0%B5%D1%81%D0%B0-300x2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953000"/>
            <a:ext cx="2857500" cy="1905000"/>
          </a:xfrm>
          <a:prstGeom prst="rect">
            <a:avLst/>
          </a:prstGeom>
          <a:noFill/>
        </p:spPr>
      </p:pic>
      <p:sp>
        <p:nvSpPr>
          <p:cNvPr id="14" name="Стрелка вниз 13"/>
          <p:cNvSpPr/>
          <p:nvPr/>
        </p:nvSpPr>
        <p:spPr>
          <a:xfrm>
            <a:off x="107153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392905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низ 16"/>
          <p:cNvSpPr/>
          <p:nvPr/>
        </p:nvSpPr>
        <p:spPr>
          <a:xfrm>
            <a:off x="7215206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071546"/>
            <a:ext cx="8429625" cy="71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 smtClean="0"/>
              <a:t>На </a:t>
            </a:r>
            <a:r>
              <a:rPr lang="ru-RU" sz="1600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dirty="0" smtClean="0"/>
              <a:t>2020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1-2022 годах.</a:t>
            </a:r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25" y="1866084"/>
          <a:ext cx="8358188" cy="4754880"/>
        </p:xfrm>
        <a:graphic>
          <a:graphicData uri="http://schemas.openxmlformats.org/drawingml/2006/table">
            <a:tbl>
              <a:tblPr/>
              <a:tblGrid>
                <a:gridCol w="2441575"/>
                <a:gridCol w="1536700"/>
                <a:gridCol w="922338"/>
                <a:gridCol w="922337"/>
                <a:gridCol w="844550"/>
                <a:gridCol w="846138"/>
                <a:gridCol w="844550"/>
              </a:tblGrid>
              <a:tr h="1802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и труженикам тыла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92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364,38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58364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58364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28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79,4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5561,9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66,1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м погибших ветеранов боевых действ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859,59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,19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859,5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6,6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8 человек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9,5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49,5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49,5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88" y="2214565"/>
          <a:ext cx="8501063" cy="4357707"/>
        </p:xfrm>
        <a:graphic>
          <a:graphicData uri="http://schemas.openxmlformats.org/drawingml/2006/table">
            <a:tbl>
              <a:tblPr/>
              <a:tblGrid>
                <a:gridCol w="2482850"/>
                <a:gridCol w="1562100"/>
                <a:gridCol w="939800"/>
                <a:gridCol w="938213"/>
                <a:gridCol w="858837"/>
                <a:gridCol w="860425"/>
                <a:gridCol w="85883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79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6 челове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680,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255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255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12373,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066,1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188,4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316,3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85860"/>
            <a:ext cx="8429625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, пенсионеров и других категорий населения) в 2020 году и плановый период 2021-2022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142852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34" y="2500306"/>
          <a:ext cx="8286750" cy="2883218"/>
        </p:xfrm>
        <a:graphic>
          <a:graphicData uri="http://schemas.openxmlformats.org/drawingml/2006/table">
            <a:tbl>
              <a:tblPr/>
              <a:tblGrid>
                <a:gridCol w="3071812"/>
                <a:gridCol w="1000125"/>
                <a:gridCol w="785813"/>
                <a:gridCol w="857250"/>
                <a:gridCol w="785812"/>
                <a:gridCol w="857250"/>
                <a:gridCol w="928688"/>
              </a:tblGrid>
              <a:tr h="1524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5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7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субсидии на оплату жилого помещения и  коммун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080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335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9809,9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087,7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27150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спортивной одежды и обуви и школьных принадлежнос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1161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36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61,8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688,3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428736"/>
            <a:ext cx="8429625" cy="78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</a:t>
            </a:r>
            <a:r>
              <a:rPr lang="ru-RU" sz="1600" b="1" dirty="0"/>
              <a:t>, пенсионеров и других категорий </a:t>
            </a:r>
            <a:r>
              <a:rPr lang="ru-RU" sz="1600" b="1" dirty="0" smtClean="0"/>
              <a:t>населения) </a:t>
            </a:r>
            <a:r>
              <a:rPr lang="ru-RU" sz="1600" b="1" dirty="0"/>
              <a:t>в </a:t>
            </a:r>
            <a:r>
              <a:rPr lang="ru-RU" sz="1600" b="1" dirty="0" smtClean="0"/>
              <a:t>2019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0-2021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214290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874542"/>
          <a:ext cx="8429625" cy="4932046"/>
        </p:xfrm>
        <a:graphic>
          <a:graphicData uri="http://schemas.openxmlformats.org/drawingml/2006/table">
            <a:tbl>
              <a:tblPr/>
              <a:tblGrid>
                <a:gridCol w="2928937"/>
                <a:gridCol w="1143000"/>
                <a:gridCol w="785813"/>
                <a:gridCol w="1071562"/>
                <a:gridCol w="785813"/>
                <a:gridCol w="1000125"/>
                <a:gridCol w="714375"/>
              </a:tblGrid>
              <a:tr h="2555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4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месячного пособия на ребен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6974,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7641,3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8350,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многодетным семья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4166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5398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732,8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годного социального пособия на проезд учащимся (студентам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82,55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9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0,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,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83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9843,0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1399,0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877,0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3419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 реб- 4852,00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 реб - 6803,9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506,8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2207,2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3133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38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58" y="1142984"/>
            <a:ext cx="8215369" cy="78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</a:t>
            </a:r>
            <a:r>
              <a:rPr lang="ru-RU" sz="1600" b="1" dirty="0" smtClean="0"/>
              <a:t>поддержки семьям с детьми </a:t>
            </a:r>
            <a:r>
              <a:rPr lang="ru-RU" sz="1600" b="1" dirty="0"/>
              <a:t>в </a:t>
            </a:r>
            <a:r>
              <a:rPr lang="ru-RU" sz="1600" b="1" dirty="0" smtClean="0"/>
              <a:t>2020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1-2022 годах.</a:t>
            </a:r>
            <a:endParaRPr lang="ru-RU" sz="1400" b="1" dirty="0"/>
          </a:p>
        </p:txBody>
      </p:sp>
      <p:grpSp>
        <p:nvGrpSpPr>
          <p:cNvPr id="10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3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58" y="2214554"/>
          <a:ext cx="8501063" cy="3740150"/>
        </p:xfrm>
        <a:graphic>
          <a:graphicData uri="http://schemas.openxmlformats.org/drawingml/2006/table">
            <a:tbl>
              <a:tblPr/>
              <a:tblGrid>
                <a:gridCol w="2786063"/>
                <a:gridCol w="1357312"/>
                <a:gridCol w="714375"/>
                <a:gridCol w="928688"/>
                <a:gridCol w="820737"/>
                <a:gridCol w="947738"/>
                <a:gridCol w="946150"/>
              </a:tblGrid>
              <a:tr h="2222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286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8143,96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е денежных средств на содержание ребенка опекуну (попечителю)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455,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674,0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4700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ы единовременных пособий усыновителям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8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.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50,0тыс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0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6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8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5300" name="Rectangle 2"/>
          <p:cNvSpPr>
            <a:spLocks noChangeArrowheads="1"/>
          </p:cNvSpPr>
          <p:nvPr/>
        </p:nvSpPr>
        <p:spPr bwMode="auto">
          <a:xfrm>
            <a:off x="642910" y="1285860"/>
            <a:ext cx="7858180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/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3500438"/>
          <a:ext cx="8501092" cy="2924176"/>
        </p:xfrm>
        <a:graphic>
          <a:graphicData uri="http://schemas.openxmlformats.org/drawingml/2006/table">
            <a:tbl>
              <a:tblPr/>
              <a:tblGrid>
                <a:gridCol w="896509"/>
                <a:gridCol w="2682891"/>
                <a:gridCol w="1064040"/>
                <a:gridCol w="1000132"/>
                <a:gridCol w="1000132"/>
                <a:gridCol w="1000132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781,5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 479,1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8 676,2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 711,8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 627,7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 241,8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 305,5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837,2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082,9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 980,2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5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 602,7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2 909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6,9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1,9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3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порт высших достижений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003,9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810,5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570,9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929,8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871,9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905,5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214282" y="2643182"/>
            <a:ext cx="8715436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18-2022 годах</a:t>
            </a:r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4340" name="Rectangle 2"/>
          <p:cNvSpPr>
            <a:spLocks noChangeArrowheads="1"/>
          </p:cNvSpPr>
          <p:nvPr/>
        </p:nvSpPr>
        <p:spPr bwMode="auto">
          <a:xfrm>
            <a:off x="428625" y="1214438"/>
            <a:ext cx="8429625" cy="1071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>
                <a:solidFill>
                  <a:srgbClr val="FF0000"/>
                </a:solidFill>
              </a:rPr>
              <a:t> </a:t>
            </a:r>
            <a:r>
              <a:rPr lang="ru-RU" sz="1400" dirty="0" smtClean="0"/>
              <a:t>Увеличение расходов </a:t>
            </a:r>
            <a:r>
              <a:rPr lang="ru-RU" sz="1400" dirty="0"/>
              <a:t>на физическую культуру и спорт </a:t>
            </a:r>
            <a:r>
              <a:rPr lang="ru-RU" sz="1400" dirty="0" smtClean="0"/>
              <a:t>в 2020 году обусловлено </a:t>
            </a:r>
            <a:r>
              <a:rPr lang="ru-RU" sz="1400" dirty="0"/>
              <a:t>выделением </a:t>
            </a:r>
            <a:r>
              <a:rPr lang="ru-RU" sz="1400" dirty="0" smtClean="0"/>
              <a:t>ассигнований на строительство (реконструкцию) объектов спорта города Железноводска, в том числе на реализацию мероприятий, связанных с эффективным использованием тренировочных площадок после проведения чемпионата </a:t>
            </a:r>
            <a:r>
              <a:rPr lang="ru-RU" sz="1400" dirty="0"/>
              <a:t>мира по футболу </a:t>
            </a:r>
            <a:r>
              <a:rPr lang="ru-RU" sz="1400" dirty="0" smtClean="0"/>
              <a:t>2018 года </a:t>
            </a:r>
            <a:r>
              <a:rPr lang="ru-RU" sz="1400" dirty="0"/>
              <a:t>в Российской </a:t>
            </a:r>
            <a:r>
              <a:rPr lang="ru-RU" sz="1400" dirty="0" smtClean="0"/>
              <a:t>Федерации. </a:t>
            </a:r>
            <a:endParaRPr lang="ru-RU" sz="1400" dirty="0"/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357188" y="2262188"/>
          <a:ext cx="8569325" cy="4246562"/>
        </p:xfrm>
        <a:graphic>
          <a:graphicData uri="http://schemas.openxmlformats.org/presentationml/2006/ole">
            <p:oleObj spid="_x0000_s14338" name="Worksheet" r:id="rId4" imgW="6343610" imgH="3143377" progId="Excel.Sheet.8">
              <p:embed/>
            </p:oleObj>
          </a:graphicData>
        </a:graphic>
      </p:graphicFrame>
      <p:sp>
        <p:nvSpPr>
          <p:cNvPr id="14341" name="Text Box 7"/>
          <p:cNvSpPr txBox="1">
            <a:spLocks noChangeArrowheads="1"/>
          </p:cNvSpPr>
          <p:nvPr/>
        </p:nvSpPr>
        <p:spPr bwMode="auto">
          <a:xfrm>
            <a:off x="6572264" y="2857496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364" name="Text Box 7"/>
          <p:cNvSpPr txBox="1">
            <a:spLocks noChangeArrowheads="1"/>
          </p:cNvSpPr>
          <p:nvPr/>
        </p:nvSpPr>
        <p:spPr bwMode="auto">
          <a:xfrm>
            <a:off x="7429520" y="135729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744538" y="2076450"/>
          <a:ext cx="7608887" cy="3224213"/>
        </p:xfrm>
        <a:graphic>
          <a:graphicData uri="http://schemas.openxmlformats.org/presentationml/2006/ole">
            <p:oleObj spid="_x0000_s15363" name="Worksheet" r:id="rId4" imgW="6153032" imgH="245747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42" name="AutoShape 2"/>
          <p:cNvSpPr>
            <a:spLocks noChangeArrowheads="1"/>
          </p:cNvSpPr>
          <p:nvPr/>
        </p:nvSpPr>
        <p:spPr bwMode="auto">
          <a:xfrm>
            <a:off x="1428728" y="214290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Реализация проектов развития территорий, </a:t>
            </a:r>
            <a:br>
              <a:rPr lang="ru-RU" sz="2400" b="1" dirty="0" smtClean="0">
                <a:solidFill>
                  <a:schemeClr val="bg1"/>
                </a:solidFill>
              </a:rPr>
            </a:br>
            <a:r>
              <a:rPr lang="ru-RU" sz="2400" b="1" dirty="0" smtClean="0">
                <a:solidFill>
                  <a:schemeClr val="bg1"/>
                </a:solidFill>
              </a:rPr>
              <a:t>основанных на местных инициативах в 2020 году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56" name="Object 12"/>
          <p:cNvGraphicFramePr>
            <a:graphicFrameLocks noChangeAspect="1"/>
          </p:cNvGraphicFramePr>
          <p:nvPr/>
        </p:nvGraphicFramePr>
        <p:xfrm>
          <a:off x="0" y="1143000"/>
          <a:ext cx="8869363" cy="5565775"/>
        </p:xfrm>
        <a:graphic>
          <a:graphicData uri="http://schemas.openxmlformats.org/presentationml/2006/ole">
            <p:oleObj spid="_x0000_s155650" name="Worksheet" r:id="rId4" imgW="7038978" imgH="4267110" progId="Excel.Sheet.8">
              <p:embed/>
            </p:oleObj>
          </a:graphicData>
        </a:graphic>
      </p:graphicFrame>
      <p:sp>
        <p:nvSpPr>
          <p:cNvPr id="57" name="Text Box 7"/>
          <p:cNvSpPr txBox="1">
            <a:spLocks noChangeArrowheads="1"/>
          </p:cNvSpPr>
          <p:nvPr/>
        </p:nvSpPr>
        <p:spPr bwMode="auto">
          <a:xfrm>
            <a:off x="357158" y="1285860"/>
            <a:ext cx="1293813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 smtClean="0"/>
              <a:t>млн. </a:t>
            </a:r>
            <a:r>
              <a:rPr lang="ru-RU" sz="1600" b="1" i="1" dirty="0"/>
              <a:t>рублей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71472" y="5572140"/>
            <a:ext cx="14444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убсидии </a:t>
            </a:r>
          </a:p>
          <a:p>
            <a:r>
              <a:rPr lang="ru-RU" dirty="0" smtClean="0"/>
              <a:t>из краев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1" name="TextBox 60"/>
          <p:cNvSpPr txBox="1"/>
          <p:nvPr/>
        </p:nvSpPr>
        <p:spPr>
          <a:xfrm>
            <a:off x="1928794" y="5643578"/>
            <a:ext cx="11829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едства</a:t>
            </a:r>
          </a:p>
          <a:p>
            <a:r>
              <a:rPr lang="ru-RU" dirty="0" smtClean="0"/>
              <a:t>местн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3071802" y="5572140"/>
            <a:ext cx="17145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Средства юридических лиц</a:t>
            </a:r>
            <a:endParaRPr lang="ru-RU" dirty="0"/>
          </a:p>
        </p:txBody>
      </p:sp>
      <p:sp>
        <p:nvSpPr>
          <p:cNvPr id="63" name="TextBox 62"/>
          <p:cNvSpPr txBox="1"/>
          <p:nvPr/>
        </p:nvSpPr>
        <p:spPr>
          <a:xfrm>
            <a:off x="4786314" y="5572140"/>
            <a:ext cx="1357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едства населения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="" xmlns:p14="http://schemas.microsoft.com/office/powerpoint/2010/main" val="3383263371"/>
              </p:ext>
            </p:extLst>
          </p:nvPr>
        </p:nvGraphicFramePr>
        <p:xfrm>
          <a:off x="-357222" y="1928802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707632720"/>
              </p:ext>
            </p:extLst>
          </p:nvPr>
        </p:nvGraphicFramePr>
        <p:xfrm>
          <a:off x="3786182" y="3214686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19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0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2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732,5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33" name="Группа 23"/>
          <p:cNvGrpSpPr/>
          <p:nvPr/>
        </p:nvGrpSpPr>
        <p:grpSpPr>
          <a:xfrm>
            <a:off x="3214678" y="2857496"/>
            <a:ext cx="5607471" cy="1857388"/>
            <a:chOff x="3429025" y="1245520"/>
            <a:chExt cx="5607471" cy="1607415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6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36" name="Прямая соединительная линия 35"/>
            <p:cNvCxnSpPr/>
            <p:nvPr/>
          </p:nvCxnSpPr>
          <p:spPr>
            <a:xfrm rot="10800000" flipV="1">
              <a:off x="3429025" y="1616462"/>
              <a:ext cx="642942" cy="12364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Группа 21"/>
          <p:cNvGrpSpPr/>
          <p:nvPr/>
        </p:nvGrpSpPr>
        <p:grpSpPr>
          <a:xfrm>
            <a:off x="1285851" y="1412775"/>
            <a:ext cx="7401797" cy="1587597"/>
            <a:chOff x="3859304" y="4581131"/>
            <a:chExt cx="5177193" cy="1759253"/>
          </a:xfrm>
        </p:grpSpPr>
        <p:grpSp>
          <p:nvGrpSpPr>
            <p:cNvPr id="38" name="Группа 44"/>
            <p:cNvGrpSpPr/>
            <p:nvPr/>
          </p:nvGrpSpPr>
          <p:grpSpPr>
            <a:xfrm>
              <a:off x="4355977" y="4581131"/>
              <a:ext cx="4680520" cy="1476000"/>
              <a:chOff x="2987816" y="4689304"/>
              <a:chExt cx="6240692" cy="1476000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5235323" y="4761309"/>
                <a:ext cx="2457013" cy="3600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600" b="1" dirty="0">
                    <a:solidFill>
                      <a:schemeClr val="tx1"/>
                    </a:solidFill>
                  </a:rPr>
                  <a:t>Прочий персонал</a:t>
                </a:r>
              </a:p>
            </p:txBody>
          </p:sp>
          <p:sp>
            <p:nvSpPr>
              <p:cNvPr id="41" name="Скругленный прямоугольник 40"/>
              <p:cNvSpPr/>
              <p:nvPr>
                <p:custDataLst>
                  <p:tags r:id="rId5"/>
                </p:custDataLst>
              </p:nvPr>
            </p:nvSpPr>
            <p:spPr>
              <a:xfrm>
                <a:off x="2987816" y="4689304"/>
                <a:ext cx="6240692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4590773" y="5340288"/>
                <a:ext cx="999346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0 года </a:t>
                </a:r>
                <a:endParaRPr lang="ru-RU" sz="1400" dirty="0"/>
              </a:p>
            </p:txBody>
          </p:sp>
          <p:sp>
            <p:nvSpPr>
              <p:cNvPr id="43" name="Овал 42"/>
              <p:cNvSpPr/>
              <p:nvPr/>
            </p:nvSpPr>
            <p:spPr>
              <a:xfrm>
                <a:off x="5523497" y="5340286"/>
                <a:ext cx="52013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3,8%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6123106" y="5340288"/>
                <a:ext cx="999347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1 года</a:t>
                </a:r>
                <a:endParaRPr lang="ru-RU" sz="1400" dirty="0"/>
              </a:p>
            </p:txBody>
          </p:sp>
          <p:sp>
            <p:nvSpPr>
              <p:cNvPr id="45" name="Овал 44"/>
              <p:cNvSpPr/>
              <p:nvPr/>
            </p:nvSpPr>
            <p:spPr>
              <a:xfrm>
                <a:off x="7122453" y="5340288"/>
                <a:ext cx="52013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4,0%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7655438" y="5340288"/>
                <a:ext cx="932724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2 года</a:t>
                </a:r>
                <a:endParaRPr lang="ru-RU" sz="1400" dirty="0"/>
              </a:p>
            </p:txBody>
          </p:sp>
          <p:sp>
            <p:nvSpPr>
              <p:cNvPr id="47" name="Овал 46"/>
              <p:cNvSpPr/>
              <p:nvPr/>
            </p:nvSpPr>
            <p:spPr>
              <a:xfrm>
                <a:off x="8654785" y="5340288"/>
                <a:ext cx="55995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4,0%</a:t>
                </a:r>
              </a:p>
            </p:txBody>
          </p:sp>
        </p:grpSp>
        <p:cxnSp>
          <p:nvCxnSpPr>
            <p:cNvPr id="39" name="Прямая соединительная линия 38"/>
            <p:cNvCxnSpPr/>
            <p:nvPr/>
          </p:nvCxnSpPr>
          <p:spPr>
            <a:xfrm rot="5400000">
              <a:off x="3594587" y="5575994"/>
              <a:ext cx="1029107" cy="49967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19"/>
          <p:cNvGrpSpPr/>
          <p:nvPr/>
        </p:nvGrpSpPr>
        <p:grpSpPr>
          <a:xfrm>
            <a:off x="2000232" y="4357694"/>
            <a:ext cx="6544748" cy="2085952"/>
            <a:chOff x="2812513" y="2351160"/>
            <a:chExt cx="6223983" cy="2085952"/>
          </a:xfrm>
        </p:grpSpPr>
        <p:grpSp>
          <p:nvGrpSpPr>
            <p:cNvPr id="49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51" name="Прямоугольник 20"/>
              <p:cNvSpPr/>
              <p:nvPr>
                <p:custDataLst>
                  <p:tags r:id="rId3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52" name="Скругленный прямоугольник 51"/>
              <p:cNvSpPr/>
              <p:nvPr>
                <p:custDataLst>
                  <p:tags r:id="rId4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53" name="Диаграмма 52"/>
              <p:cNvGraphicFramePr/>
              <p:nvPr>
                <p:extLst>
                  <p:ext uri="{D42A27DB-BD31-4B8C-83A1-F6EECF244321}">
                    <p14:modId xmlns="" xmlns:p14="http://schemas.microsoft.com/office/powerpoint/2010/main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</p:grpSp>
        <p:cxnSp>
          <p:nvCxnSpPr>
            <p:cNvPr id="50" name="Прямая соединительная линия 49"/>
            <p:cNvCxnSpPr/>
            <p:nvPr/>
          </p:nvCxnSpPr>
          <p:spPr>
            <a:xfrm rot="10800000">
              <a:off x="2812513" y="2351160"/>
              <a:ext cx="1543368" cy="129386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00232" y="2000240"/>
            <a:ext cx="10715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1 октября</a:t>
            </a:r>
          </a:p>
          <a:p>
            <a:r>
              <a:rPr lang="ru-RU" sz="1400" b="1" dirty="0" smtClean="0"/>
              <a:t>20</a:t>
            </a:r>
            <a:r>
              <a:rPr lang="en-US" sz="1400" b="1" dirty="0" smtClean="0"/>
              <a:t>19</a:t>
            </a:r>
            <a:r>
              <a:rPr lang="ru-RU" sz="1400" b="1" dirty="0" smtClean="0"/>
              <a:t> </a:t>
            </a:r>
            <a:r>
              <a:rPr lang="ru-RU" sz="1400" b="1" dirty="0"/>
              <a:t>года </a:t>
            </a:r>
            <a:endParaRPr lang="ru-RU" sz="1400" dirty="0"/>
          </a:p>
        </p:txBody>
      </p:sp>
      <p:sp>
        <p:nvSpPr>
          <p:cNvPr id="56" name="Овал 55"/>
          <p:cNvSpPr/>
          <p:nvPr/>
        </p:nvSpPr>
        <p:spPr>
          <a:xfrm>
            <a:off x="3071802" y="2000240"/>
            <a:ext cx="557721" cy="487823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3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57" name="Группа 6"/>
          <p:cNvGrpSpPr/>
          <p:nvPr/>
        </p:nvGrpSpPr>
        <p:grpSpPr>
          <a:xfrm>
            <a:off x="500034" y="5429264"/>
            <a:ext cx="2143139" cy="1000132"/>
            <a:chOff x="5807967" y="2961112"/>
            <a:chExt cx="6240693" cy="1476000"/>
          </a:xfrm>
        </p:grpSpPr>
        <p:sp>
          <p:nvSpPr>
            <p:cNvPr id="58" name="Прямоугольник 57"/>
            <p:cNvSpPr/>
            <p:nvPr>
              <p:custDataLst>
                <p:tags r:id="rId1"/>
              </p:custDataLst>
            </p:nvPr>
          </p:nvSpPr>
          <p:spPr>
            <a:xfrm>
              <a:off x="6238197" y="3032550"/>
              <a:ext cx="5306161" cy="12858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>
                  <a:solidFill>
                    <a:schemeClr val="tx1"/>
                  </a:solidFill>
                </a:rPr>
                <a:t>1,2 млн. </a:t>
              </a:r>
              <a:r>
                <a:rPr lang="ru-RU" sz="1600" b="1" dirty="0">
                  <a:solidFill>
                    <a:schemeClr val="tx1"/>
                  </a:solidFill>
                </a:rPr>
                <a:t>руб</a:t>
              </a:r>
              <a:r>
                <a:rPr lang="ru-RU" sz="1600" b="1" dirty="0" smtClean="0">
                  <a:solidFill>
                    <a:schemeClr val="tx1"/>
                  </a:solidFill>
                </a:rPr>
                <a:t>.  </a:t>
              </a:r>
              <a:r>
                <a:rPr lang="ru-RU" sz="1400" b="1" dirty="0" smtClean="0">
                  <a:solidFill>
                    <a:schemeClr val="tx1"/>
                  </a:solidFill>
                </a:rPr>
                <a:t>на увеличение фонда заработной платы спасателей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59" name="Скругленный прямоугольник 58"/>
            <p:cNvSpPr/>
            <p:nvPr>
              <p:custDataLst>
                <p:tags r:id="rId2"/>
              </p:custDataLst>
            </p:nvPr>
          </p:nvSpPr>
          <p:spPr>
            <a:xfrm>
              <a:off x="5807967" y="2961112"/>
              <a:ext cx="6240693" cy="1476000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1" name="Прямоугольник 60"/>
          <p:cNvSpPr/>
          <p:nvPr/>
        </p:nvSpPr>
        <p:spPr>
          <a:xfrm>
            <a:off x="323528" y="260648"/>
            <a:ext cx="86409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Повышение оплаты труда работников  муниципальных учреждений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ражданин в бюджетном процессе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1714501" y="785813"/>
            <a:ext cx="642922" cy="357171"/>
          </a:xfrm>
          <a:prstGeom prst="downArrow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6286512" y="785813"/>
            <a:ext cx="578630" cy="396857"/>
          </a:xfrm>
          <a:prstGeom prst="downArrow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" name="Выноска со стрелкой вниз 16"/>
          <p:cNvSpPr/>
          <p:nvPr/>
        </p:nvSpPr>
        <p:spPr>
          <a:xfrm>
            <a:off x="642938" y="1142984"/>
            <a:ext cx="2857500" cy="1000118"/>
          </a:xfrm>
          <a:prstGeom prst="downArrowCallou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Налогоплательщик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42938" y="2143116"/>
            <a:ext cx="2714625" cy="857250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Участвует в </a:t>
            </a:r>
            <a:r>
              <a:rPr lang="ru-RU" sz="1800" b="1" dirty="0"/>
              <a:t>ДОХОДНОЙ </a:t>
            </a:r>
            <a:r>
              <a:rPr lang="ru-RU" sz="1800" dirty="0"/>
              <a:t>части бюджет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786188" y="2214554"/>
            <a:ext cx="5143500" cy="785818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Получает </a:t>
            </a:r>
            <a:r>
              <a:rPr lang="ru-RU" sz="1800" dirty="0" smtClean="0"/>
              <a:t>социальные гарантии </a:t>
            </a:r>
            <a:r>
              <a:rPr lang="ru-RU" sz="1800" dirty="0"/>
              <a:t>– </a:t>
            </a:r>
            <a:r>
              <a:rPr lang="ru-RU" sz="1800" b="1" dirty="0">
                <a:solidFill>
                  <a:schemeClr val="tx1"/>
                </a:solidFill>
              </a:rPr>
              <a:t>РАСХОДНАЯ</a:t>
            </a:r>
            <a:r>
              <a:rPr lang="ru-RU" sz="1800" dirty="0">
                <a:solidFill>
                  <a:schemeClr val="tx1"/>
                </a:solidFill>
              </a:rPr>
              <a:t> часть бюджета</a:t>
            </a:r>
            <a:endParaRPr lang="ru-RU" sz="1800" b="1" dirty="0"/>
          </a:p>
        </p:txBody>
      </p:sp>
      <p:sp>
        <p:nvSpPr>
          <p:cNvPr id="18" name="Выноска со стрелкой вниз 17"/>
          <p:cNvSpPr/>
          <p:nvPr/>
        </p:nvSpPr>
        <p:spPr>
          <a:xfrm>
            <a:off x="4572000" y="1214422"/>
            <a:ext cx="4071966" cy="1000118"/>
          </a:xfrm>
          <a:prstGeom prst="downArrowCallou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Получатель социальных гарантий</a:t>
            </a:r>
          </a:p>
        </p:txBody>
      </p:sp>
      <p:pic>
        <p:nvPicPr>
          <p:cNvPr id="107522" name="Picture 2" descr="Как узнать транспортный налог через портал Госуслуг, плюсы и минусы оплаты налога на машину онлай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3" y="3500439"/>
            <a:ext cx="1571635" cy="973647"/>
          </a:xfrm>
          <a:prstGeom prst="rect">
            <a:avLst/>
          </a:prstGeom>
          <a:noFill/>
        </p:spPr>
      </p:pic>
      <p:pic>
        <p:nvPicPr>
          <p:cNvPr id="2" name="Picture 2" descr="строительство дачных домов и коттеджей — СК Домино — Санкт-Петербург, фото №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3" y="4572008"/>
            <a:ext cx="1571635" cy="1003492"/>
          </a:xfrm>
          <a:prstGeom prst="rect">
            <a:avLst/>
          </a:prstGeom>
          <a:noFill/>
        </p:spPr>
      </p:pic>
      <p:pic>
        <p:nvPicPr>
          <p:cNvPr id="3" name="Picture 2" descr="https://sevastopol.su/sites/default/files/styles/node/public/2017-11-11/2_1.jpg?itok=mXLHwr3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5643578"/>
            <a:ext cx="1571636" cy="1147294"/>
          </a:xfrm>
          <a:prstGeom prst="rect">
            <a:avLst/>
          </a:prstGeom>
          <a:noFill/>
        </p:spPr>
      </p:pic>
      <p:sp>
        <p:nvSpPr>
          <p:cNvPr id="20" name="AutoShape 2"/>
          <p:cNvSpPr>
            <a:spLocks noChangeArrowheads="1"/>
          </p:cNvSpPr>
          <p:nvPr/>
        </p:nvSpPr>
        <p:spPr bwMode="auto">
          <a:xfrm>
            <a:off x="1643042" y="364331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транспортный налог</a:t>
            </a:r>
            <a:endParaRPr lang="ru-RU" sz="1600" b="1" dirty="0"/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1571604" y="471488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на имущество</a:t>
            </a:r>
            <a:endParaRPr lang="ru-RU" sz="1600" b="1" dirty="0"/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1571604" y="600076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емельный налог</a:t>
            </a:r>
            <a:endParaRPr lang="ru-RU" sz="1600" b="1" dirty="0"/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5429256" y="300037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образование</a:t>
            </a:r>
            <a:endParaRPr lang="ru-RU" sz="1600" b="1" dirty="0"/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5429256" y="350043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дравоохранение</a:t>
            </a:r>
            <a:endParaRPr lang="ru-RU" sz="1600" b="1" dirty="0"/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5429256" y="414338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услуги ЖКХ</a:t>
            </a:r>
            <a:endParaRPr lang="ru-RU" sz="1600" b="1" dirty="0"/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5429256" y="4643446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культура</a:t>
            </a:r>
            <a:endParaRPr lang="ru-RU" sz="1600" b="1" dirty="0"/>
          </a:p>
        </p:txBody>
      </p:sp>
      <p:sp>
        <p:nvSpPr>
          <p:cNvPr id="28" name="AutoShape 2"/>
          <p:cNvSpPr>
            <a:spLocks noChangeArrowheads="1"/>
          </p:cNvSpPr>
          <p:nvPr/>
        </p:nvSpPr>
        <p:spPr bwMode="auto">
          <a:xfrm>
            <a:off x="5500694" y="521495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физкультура</a:t>
            </a:r>
            <a:endParaRPr lang="ru-RU" sz="1600" b="1" dirty="0"/>
          </a:p>
        </p:txBody>
      </p:sp>
      <p:sp>
        <p:nvSpPr>
          <p:cNvPr id="29" name="AutoShape 2"/>
          <p:cNvSpPr>
            <a:spLocks noChangeArrowheads="1"/>
          </p:cNvSpPr>
          <p:nvPr/>
        </p:nvSpPr>
        <p:spPr bwMode="auto">
          <a:xfrm>
            <a:off x="5429256" y="564357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порт</a:t>
            </a:r>
            <a:endParaRPr lang="ru-RU" sz="1600" b="1" dirty="0"/>
          </a:p>
        </p:txBody>
      </p:sp>
      <p:sp>
        <p:nvSpPr>
          <p:cNvPr id="30" name="AutoShape 2"/>
          <p:cNvSpPr>
            <a:spLocks noChangeArrowheads="1"/>
          </p:cNvSpPr>
          <p:nvPr/>
        </p:nvSpPr>
        <p:spPr bwMode="auto">
          <a:xfrm>
            <a:off x="5500694" y="621508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оциальные льготы</a:t>
            </a:r>
            <a:endParaRPr lang="ru-RU" sz="1600" b="1" dirty="0"/>
          </a:p>
        </p:txBody>
      </p:sp>
      <p:pic>
        <p:nvPicPr>
          <p:cNvPr id="107524" name="Picture 4" descr="https://img.kanal-o.ru/img/2017-11-20/fmt_81_24_shutterstock_46277366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28993" y="3049486"/>
            <a:ext cx="2071702" cy="1165332"/>
          </a:xfrm>
          <a:prstGeom prst="rect">
            <a:avLst/>
          </a:prstGeom>
          <a:noFill/>
        </p:spPr>
      </p:pic>
      <p:pic>
        <p:nvPicPr>
          <p:cNvPr id="4" name="Picture 2" descr="В 2019 году расходы на здравоохранение из бюджета Петербурга увеличатся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66628" y="3093922"/>
            <a:ext cx="1763090" cy="1049458"/>
          </a:xfrm>
          <a:prstGeom prst="rect">
            <a:avLst/>
          </a:prstGeom>
          <a:noFill/>
        </p:spPr>
      </p:pic>
      <p:sp>
        <p:nvSpPr>
          <p:cNvPr id="5" name="AutoShape 2" descr="Правительство России одобрило двухэтапную индексацию тарифов ЖКХ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6" name="Picture 4" descr="Правительство России одобрило двухэтапную индексацию тарифов ЖКХ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24552" y="4329143"/>
            <a:ext cx="1947524" cy="1171559"/>
          </a:xfrm>
          <a:prstGeom prst="rect">
            <a:avLst/>
          </a:prstGeom>
          <a:noFill/>
        </p:spPr>
      </p:pic>
      <p:pic>
        <p:nvPicPr>
          <p:cNvPr id="8" name="Picture 2" descr="День работника культуры России - 25 марта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88550" y="4214818"/>
            <a:ext cx="1812606" cy="1214446"/>
          </a:xfrm>
          <a:prstGeom prst="rect">
            <a:avLst/>
          </a:prstGeom>
          <a:noFill/>
        </p:spPr>
      </p:pic>
      <p:pic>
        <p:nvPicPr>
          <p:cNvPr id="11" name="Picture 2" descr="http://sovch.chuvashia.com/wp-content/uploads/2018/01/6-8-1170x78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16240" y="5527184"/>
            <a:ext cx="1784916" cy="1187964"/>
          </a:xfrm>
          <a:prstGeom prst="rect">
            <a:avLst/>
          </a:prstGeom>
          <a:noFill/>
        </p:spPr>
      </p:pic>
      <p:pic>
        <p:nvPicPr>
          <p:cNvPr id="12" name="Picture 2" descr="https://avatars.mds.yandex.net/get-zen_doc/168601/pub_5b2b6c8245c2c800a9602c1a_5b2b6caee5a60f00a8002e9d/scale_12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71868" y="5563774"/>
            <a:ext cx="1857388" cy="11593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20325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2134737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b="1" dirty="0" smtClean="0"/>
              <a:t>уличное освещение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798705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0,7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2035192"/>
            <a:ext cx="2232248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516216" y="2054712"/>
            <a:ext cx="237626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Реализация проектов на местные инициативы</a:t>
            </a:r>
            <a:endParaRPr lang="ru-RU" sz="16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77479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,0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3714752"/>
            <a:ext cx="2132039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714752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содержание  курортной зоны, города и </a:t>
            </a:r>
            <a:r>
              <a:rPr lang="ru-RU" sz="1600" b="1" dirty="0" err="1" smtClean="0"/>
              <a:t>гор.парка</a:t>
            </a:r>
            <a:endParaRPr lang="ru-RU" sz="16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50057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64331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516216" y="3824188"/>
            <a:ext cx="1985360" cy="44416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300"/>
              </a:lnSpc>
            </a:pPr>
            <a:r>
              <a:rPr lang="ru-RU" b="1" dirty="0" smtClean="0"/>
              <a:t>Ручная уборка  города</a:t>
            </a:r>
            <a:endParaRPr lang="ru-RU" b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673710" y="4424816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,2</a:t>
            </a:r>
            <a:endParaRPr lang="ru-RU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586330" y="400050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63888" y="4000504"/>
            <a:ext cx="198536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мероприятия по благоустройству курортного парка</a:t>
            </a:r>
            <a:endParaRPr lang="ru-RU" sz="16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697853" y="478632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1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637354"/>
            <a:ext cx="1897635" cy="1025447"/>
            <a:chOff x="3280593" y="1837348"/>
            <a:chExt cx="2577739" cy="1392963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Скругленный прямоугольник 21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rgbClr val="B2870E"/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352,2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 rot="16200000" flipH="1">
            <a:off x="4451150" y="3808216"/>
            <a:ext cx="218172" cy="235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483888" y="2617973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251988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364088" y="2634548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 flipV="1">
            <a:off x="540020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7524328" y="162266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0" name="Скругленный прямоугольник 29"/>
          <p:cNvSpPr/>
          <p:nvPr>
            <p:custDataLst>
              <p:tags r:id="rId7"/>
            </p:custDataLst>
          </p:nvPr>
        </p:nvSpPr>
        <p:spPr>
          <a:xfrm>
            <a:off x="3563888" y="1478648"/>
            <a:ext cx="1895163" cy="1060606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>
            <p:custDataLst>
              <p:tags r:id="rId8"/>
            </p:custDataLst>
          </p:nvPr>
        </p:nvSpPr>
        <p:spPr>
          <a:xfrm>
            <a:off x="2748275" y="53578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>
            <p:custDataLst>
              <p:tags r:id="rId9"/>
            </p:custDataLst>
          </p:nvPr>
        </p:nvSpPr>
        <p:spPr>
          <a:xfrm>
            <a:off x="4858322" y="5295642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>
            <p:custDataLst>
              <p:tags r:id="rId10"/>
            </p:custDataLst>
          </p:nvPr>
        </p:nvSpPr>
        <p:spPr>
          <a:xfrm>
            <a:off x="3707904" y="205471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3,6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>
            <p:custDataLst>
              <p:tags r:id="rId11"/>
            </p:custDataLst>
          </p:nvPr>
        </p:nvSpPr>
        <p:spPr>
          <a:xfrm>
            <a:off x="2850847" y="6159168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60,0</a:t>
            </a:r>
            <a:endParaRPr lang="ru-RU" b="1" dirty="0"/>
          </a:p>
        </p:txBody>
      </p:sp>
      <p:sp>
        <p:nvSpPr>
          <p:cNvPr id="35" name="Скругленный прямоугольник 34"/>
          <p:cNvSpPr/>
          <p:nvPr>
            <p:custDataLst>
              <p:tags r:id="rId12"/>
            </p:custDataLst>
          </p:nvPr>
        </p:nvSpPr>
        <p:spPr>
          <a:xfrm>
            <a:off x="4930330" y="608773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5,0</a:t>
            </a:r>
            <a:endParaRPr lang="ru-RU" b="1" dirty="0"/>
          </a:p>
        </p:txBody>
      </p:sp>
      <p:sp>
        <p:nvSpPr>
          <p:cNvPr id="36" name="Прямоугольник 35"/>
          <p:cNvSpPr/>
          <p:nvPr>
            <p:custDataLst>
              <p:tags r:id="rId13"/>
            </p:custDataLst>
          </p:nvPr>
        </p:nvSpPr>
        <p:spPr>
          <a:xfrm>
            <a:off x="3563888" y="1478647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Развитие курортной инфраструктур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>
            <p:custDataLst>
              <p:tags r:id="rId14"/>
            </p:custDataLst>
          </p:nvPr>
        </p:nvSpPr>
        <p:spPr>
          <a:xfrm>
            <a:off x="2698652" y="5395681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Формирование современной городской среды</a:t>
            </a:r>
            <a:endParaRPr lang="ru-RU" sz="1600" b="1" dirty="0"/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>
          <a:xfrm>
            <a:off x="4786314" y="5295642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По озеленению нижней каскадной лестницы</a:t>
            </a:r>
            <a:endParaRPr lang="ru-RU" sz="1400" b="1" dirty="0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3059832" y="3638888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 flipV="1">
            <a:off x="5220072" y="3710896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1214414" y="285728"/>
            <a:ext cx="66437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лагоустройство </a:t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 на 2020 год 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1142976" y="134076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 год</a:t>
            </a: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785786" y="184482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>
            <p:custDataLst>
              <p:tags r:id="rId3"/>
            </p:custDataLst>
          </p:nvPr>
        </p:nvCxnSpPr>
        <p:spPr>
          <a:xfrm>
            <a:off x="1785918" y="228599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1142976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1,3</a:t>
            </a:r>
          </a:p>
        </p:txBody>
      </p:sp>
      <p:sp>
        <p:nvSpPr>
          <p:cNvPr id="10" name="Скругленный прямоугольник 9"/>
          <p:cNvSpPr/>
          <p:nvPr>
            <p:custDataLst>
              <p:tags r:id="rId5"/>
            </p:custDataLst>
          </p:nvPr>
        </p:nvSpPr>
        <p:spPr>
          <a:xfrm>
            <a:off x="467545" y="3861048"/>
            <a:ext cx="96118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6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071670" y="3861048"/>
            <a:ext cx="1071571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9,7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6775178" y="1346783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13" name="Скругленный прямоугольник 12"/>
          <p:cNvSpPr/>
          <p:nvPr>
            <p:custDataLst>
              <p:tags r:id="rId8"/>
            </p:custDataLst>
          </p:nvPr>
        </p:nvSpPr>
        <p:spPr>
          <a:xfrm>
            <a:off x="6340850" y="1850839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>
            <p:custDataLst>
              <p:tags r:id="rId9"/>
            </p:custDataLst>
          </p:nvPr>
        </p:nvCxnSpPr>
        <p:spPr>
          <a:xfrm>
            <a:off x="7500958" y="227434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29190" y="5000636"/>
            <a:ext cx="1446175" cy="14389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9552" y="2996952"/>
            <a:ext cx="1524000" cy="806921"/>
          </a:xfrm>
          <a:prstGeom prst="rect">
            <a:avLst/>
          </a:prstGeom>
          <a:noFill/>
        </p:spPr>
      </p:pic>
      <p:pic>
        <p:nvPicPr>
          <p:cNvPr id="18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928794" y="2996952"/>
            <a:ext cx="1524000" cy="806921"/>
          </a:xfrm>
          <a:prstGeom prst="rect">
            <a:avLst/>
          </a:prstGeom>
          <a:noFill/>
        </p:spPr>
      </p:pic>
      <p:pic>
        <p:nvPicPr>
          <p:cNvPr id="1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7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lum/>
          </a:blip>
          <a:srcRect/>
          <a:stretch>
            <a:fillRect/>
          </a:stretch>
        </p:blipFill>
        <p:spPr bwMode="auto">
          <a:xfrm>
            <a:off x="7415808" y="5129808"/>
            <a:ext cx="1728192" cy="1728192"/>
          </a:xfrm>
          <a:prstGeom prst="rect">
            <a:avLst/>
          </a:prstGeom>
          <a:noFill/>
        </p:spPr>
      </p:pic>
      <p:grpSp>
        <p:nvGrpSpPr>
          <p:cNvPr id="21" name="Группа 46"/>
          <p:cNvGrpSpPr/>
          <p:nvPr>
            <p:custDataLst>
              <p:tags r:id="rId14"/>
            </p:custDataLst>
          </p:nvPr>
        </p:nvGrpSpPr>
        <p:grpSpPr>
          <a:xfrm>
            <a:off x="179512" y="5013176"/>
            <a:ext cx="2386176" cy="467436"/>
            <a:chOff x="537999" y="5954425"/>
            <a:chExt cx="2386176" cy="467436"/>
          </a:xfrm>
        </p:grpSpPr>
        <p:sp>
          <p:nvSpPr>
            <p:cNvPr id="22" name="Овал 21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4" name="Группа 52"/>
          <p:cNvGrpSpPr/>
          <p:nvPr>
            <p:custDataLst>
              <p:tags r:id="rId15"/>
            </p:custDataLst>
          </p:nvPr>
        </p:nvGrpSpPr>
        <p:grpSpPr>
          <a:xfrm>
            <a:off x="2267744" y="5013176"/>
            <a:ext cx="2386176" cy="467436"/>
            <a:chOff x="537999" y="5954425"/>
            <a:chExt cx="2386176" cy="467436"/>
          </a:xfrm>
        </p:grpSpPr>
        <p:sp>
          <p:nvSpPr>
            <p:cNvPr id="25" name="Овал 24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/>
            <p:cNvSpPr txBox="1"/>
            <p:nvPr>
              <p:custDataLst>
                <p:tags r:id="rId30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8" name="Скругленный прямоугольник 27"/>
          <p:cNvSpPr/>
          <p:nvPr>
            <p:custDataLst>
              <p:tags r:id="rId16"/>
            </p:custDataLst>
          </p:nvPr>
        </p:nvSpPr>
        <p:spPr>
          <a:xfrm>
            <a:off x="6715140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17"/>
            </p:custDataLst>
          </p:nvPr>
        </p:nvSpPr>
        <p:spPr>
          <a:xfrm>
            <a:off x="6286512" y="3861048"/>
            <a:ext cx="92869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>
            <p:custDataLst>
              <p:tags r:id="rId18"/>
            </p:custDataLst>
          </p:nvPr>
        </p:nvSpPr>
        <p:spPr>
          <a:xfrm>
            <a:off x="7786710" y="3861048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048396" y="2924944"/>
            <a:ext cx="1524000" cy="806921"/>
          </a:xfrm>
          <a:prstGeom prst="rect">
            <a:avLst/>
          </a:prstGeom>
          <a:noFill/>
        </p:spPr>
      </p:pic>
      <p:pic>
        <p:nvPicPr>
          <p:cNvPr id="3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477156" y="2924944"/>
            <a:ext cx="1524000" cy="806921"/>
          </a:xfrm>
          <a:prstGeom prst="rect">
            <a:avLst/>
          </a:prstGeom>
          <a:noFill/>
        </p:spPr>
      </p:pic>
      <p:sp>
        <p:nvSpPr>
          <p:cNvPr id="39" name="Text Box 5"/>
          <p:cNvSpPr txBox="1">
            <a:spLocks noChangeArrowheads="1"/>
          </p:cNvSpPr>
          <p:nvPr/>
        </p:nvSpPr>
        <p:spPr bwMode="auto">
          <a:xfrm>
            <a:off x="759633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lvl="0" algn="ctr"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еспечение жильем молодых семей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1" name="Скругленный прямоугольник 40"/>
          <p:cNvSpPr/>
          <p:nvPr>
            <p:custDataLst>
              <p:tags r:id="rId21"/>
            </p:custDataLst>
          </p:nvPr>
        </p:nvSpPr>
        <p:spPr>
          <a:xfrm>
            <a:off x="3989096" y="135729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42" name="Скругленный прямоугольник 41"/>
          <p:cNvSpPr/>
          <p:nvPr>
            <p:custDataLst>
              <p:tags r:id="rId22"/>
            </p:custDataLst>
          </p:nvPr>
        </p:nvSpPr>
        <p:spPr>
          <a:xfrm>
            <a:off x="3554768" y="186135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>
            <p:custDataLst>
              <p:tags r:id="rId23"/>
            </p:custDataLst>
          </p:nvPr>
        </p:nvCxnSpPr>
        <p:spPr>
          <a:xfrm>
            <a:off x="4786314" y="2284856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24"/>
            </p:custDataLst>
          </p:nvPr>
        </p:nvSpPr>
        <p:spPr>
          <a:xfrm>
            <a:off x="3929058" y="2503411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48" name="Скругленный прямоугольник 47"/>
          <p:cNvSpPr/>
          <p:nvPr>
            <p:custDataLst>
              <p:tags r:id="rId25"/>
            </p:custDataLst>
          </p:nvPr>
        </p:nvSpPr>
        <p:spPr>
          <a:xfrm>
            <a:off x="3357554" y="3871563"/>
            <a:ext cx="1071570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Скругленный прямоугольник 48"/>
          <p:cNvSpPr/>
          <p:nvPr>
            <p:custDataLst>
              <p:tags r:id="rId26"/>
            </p:custDataLst>
          </p:nvPr>
        </p:nvSpPr>
        <p:spPr>
          <a:xfrm>
            <a:off x="4929190" y="3871563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62314" y="2935459"/>
            <a:ext cx="1524000" cy="806921"/>
          </a:xfrm>
          <a:prstGeom prst="rect">
            <a:avLst/>
          </a:prstGeom>
          <a:noFill/>
        </p:spPr>
      </p:pic>
      <p:pic>
        <p:nvPicPr>
          <p:cNvPr id="5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691074" y="2935459"/>
            <a:ext cx="1524000" cy="8069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524328" y="135729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Расходы на софинансирование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20 году 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4860032" y="3691382"/>
            <a:ext cx="135732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98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4857752" y="5491582"/>
            <a:ext cx="1370432" cy="77042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6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6444208" y="3691382"/>
            <a:ext cx="857256" cy="785818"/>
          </a:xfrm>
          <a:prstGeom prst="homePlat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6516216" y="5491582"/>
            <a:ext cx="857256" cy="714380"/>
          </a:xfrm>
          <a:prstGeom prst="homePlat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7452320" y="3619374"/>
            <a:ext cx="135735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7524328" y="5347566"/>
            <a:ext cx="128588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4" name="Пятиугольник 43"/>
          <p:cNvSpPr/>
          <p:nvPr/>
        </p:nvSpPr>
        <p:spPr>
          <a:xfrm>
            <a:off x="4643438" y="1603150"/>
            <a:ext cx="1785950" cy="118290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5" name="Пятиугольник 44"/>
          <p:cNvSpPr/>
          <p:nvPr/>
        </p:nvSpPr>
        <p:spPr>
          <a:xfrm>
            <a:off x="6444208" y="1819174"/>
            <a:ext cx="985312" cy="681132"/>
          </a:xfrm>
          <a:prstGeom prst="homePlate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100" b="1" dirty="0" smtClean="0">
                <a:solidFill>
                  <a:schemeClr val="tx1"/>
                </a:solidFill>
              </a:rPr>
              <a:t>местной доли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6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459134"/>
            <a:ext cx="4286280" cy="857256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323528" y="5059534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3528" y="3331342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323528" y="3475358"/>
            <a:ext cx="417646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Содействие занятости женщин – создание условий дошкольного образования для детей в возрасте до 3-х лет 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0" name="Rectangle 19"/>
          <p:cNvSpPr>
            <a:spLocks noChangeArrowheads="1"/>
          </p:cNvSpPr>
          <p:nvPr/>
        </p:nvSpPr>
        <p:spPr bwMode="auto">
          <a:xfrm>
            <a:off x="755576" y="5419574"/>
            <a:ext cx="31683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7451750" y="1761416"/>
            <a:ext cx="1477968" cy="100013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Овал 4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57239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Софинансирование субсидий из регионального (краевого) бюджета в 2020 году </a:t>
            </a:r>
          </a:p>
        </p:txBody>
      </p:sp>
      <p:sp>
        <p:nvSpPr>
          <p:cNvPr id="9" name="Овал 8"/>
          <p:cNvSpPr/>
          <p:nvPr/>
        </p:nvSpPr>
        <p:spPr>
          <a:xfrm>
            <a:off x="8358214" y="3012468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285860"/>
          <a:ext cx="8715436" cy="5285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864"/>
                <a:gridCol w="1140422"/>
                <a:gridCol w="1384150"/>
              </a:tblGrid>
              <a:tr h="72075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сего сумма субсидии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3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0767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офилактика терроризм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1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1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89902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иобретение жилья молодым семьям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5,8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0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81196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Замена оконных блоков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, к</a:t>
                      </a: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апитальный ремонт кровель, благоустройство территорий,  антитеррористические мероприятия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в образовательных организация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,4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4807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Комплектование книжных фондов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3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35241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Строительство (реконструкция) объектов спорт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88,7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4,4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49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5,5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,3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86175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Реализация проектов , основанных на местных инициатива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,8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74718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современной городской среды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60,0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8,0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4667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 детского сада-ясли п. Капельница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98,4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,0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4667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500,0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24,2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" name="Picture 6" descr="https://animashki.info/uploads/posts/2016-06/1465236966_1271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2420888"/>
            <a:ext cx="1762756" cy="2016224"/>
          </a:xfrm>
          <a:prstGeom prst="rect">
            <a:avLst/>
          </a:prstGeom>
          <a:noFill/>
        </p:spPr>
      </p:pic>
      <p:pic>
        <p:nvPicPr>
          <p:cNvPr id="3" name="Picture 43" descr="sport%20(824)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1760" y="5085184"/>
            <a:ext cx="2199517" cy="1512168"/>
          </a:xfrm>
          <a:prstGeom prst="rect">
            <a:avLst/>
          </a:prstGeom>
          <a:noFill/>
        </p:spPr>
      </p:pic>
      <p:pic>
        <p:nvPicPr>
          <p:cNvPr id="4" name="Picture 9" descr="http://moziru.com/images/asphalt-clipart-zigzag-road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427984" y="1772816"/>
            <a:ext cx="1431027" cy="3528392"/>
          </a:xfrm>
          <a:prstGeom prst="rect">
            <a:avLst/>
          </a:prstGeom>
          <a:noFill/>
        </p:spPr>
      </p:pic>
      <p:grpSp>
        <p:nvGrpSpPr>
          <p:cNvPr id="5" name="Группа 11"/>
          <p:cNvGrpSpPr/>
          <p:nvPr/>
        </p:nvGrpSpPr>
        <p:grpSpPr>
          <a:xfrm>
            <a:off x="6444208" y="1916832"/>
            <a:ext cx="2250000" cy="1428760"/>
            <a:chOff x="6749673" y="5713325"/>
            <a:chExt cx="2250000" cy="711436"/>
          </a:xfrm>
        </p:grpSpPr>
        <p:sp>
          <p:nvSpPr>
            <p:cNvPr id="6" name="AutoShape 32"/>
            <p:cNvSpPr>
              <a:spLocks noChangeArrowheads="1"/>
            </p:cNvSpPr>
            <p:nvPr/>
          </p:nvSpPr>
          <p:spPr bwMode="auto">
            <a:xfrm>
              <a:off x="6749673" y="5713325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7495017" y="6101401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6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323529" y="4941170"/>
            <a:ext cx="2160240" cy="1551399"/>
            <a:chOff x="6753672" y="3759602"/>
            <a:chExt cx="2177419" cy="729894"/>
          </a:xfrm>
        </p:grpSpPr>
        <p:sp>
          <p:nvSpPr>
            <p:cNvPr id="9" name="AutoShape 32"/>
            <p:cNvSpPr>
              <a:spLocks noChangeArrowheads="1"/>
            </p:cNvSpPr>
            <p:nvPr/>
          </p:nvSpPr>
          <p:spPr bwMode="auto">
            <a:xfrm>
              <a:off x="6753672" y="3759602"/>
              <a:ext cx="2177419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7406897" y="4166136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8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11" name="Группа 3"/>
          <p:cNvGrpSpPr/>
          <p:nvPr/>
        </p:nvGrpSpPr>
        <p:grpSpPr>
          <a:xfrm>
            <a:off x="251520" y="1772816"/>
            <a:ext cx="2232248" cy="1605431"/>
            <a:chOff x="6749680" y="1793534"/>
            <a:chExt cx="2250000" cy="727191"/>
          </a:xfrm>
        </p:grpSpPr>
        <p:sp>
          <p:nvSpPr>
            <p:cNvPr id="12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98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4008546" y="1268760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189,1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33" descr="q_Oy1Ls9bmUS9JUj"/>
          <p:cNvPicPr>
            <a:picLocks noChangeAspect="1" noChangeArrowheads="1" noCrop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96136" y="3933056"/>
            <a:ext cx="2664296" cy="1334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Скругленный прямоугольник 15"/>
          <p:cNvSpPr/>
          <p:nvPr/>
        </p:nvSpPr>
        <p:spPr>
          <a:xfrm>
            <a:off x="251520" y="177281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51520" y="4941168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Физкультура и спорт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444208" y="1916832"/>
            <a:ext cx="2232248" cy="72008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404664"/>
            <a:ext cx="8640960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юджетные инвестиции в 2020 году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429520" y="128586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571472" y="142852"/>
            <a:ext cx="814393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ъем дорожного фонда города-курорта Железноводска  на 2020 год и плановый период 2021 и 20</a:t>
            </a:r>
            <a:r>
              <a:rPr lang="en-US" sz="2400" b="1" dirty="0" smtClean="0">
                <a:solidFill>
                  <a:schemeClr val="bg1"/>
                </a:solidFill>
                <a:cs typeface="Times New Roman" pitchFamily="18" charset="0"/>
              </a:rPr>
              <a:t>2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2 годов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0" y="571480"/>
          <a:ext cx="9144000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5085184"/>
            <a:ext cx="8352928" cy="148478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 dirty="0">
              <a:solidFill>
                <a:srgbClr val="CC3300"/>
              </a:solidFill>
            </a:endParaRPr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1142976" y="142852"/>
            <a:ext cx="7500990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                  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тавропольского края в разрезе муниципальных программ  на 2020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285720" y="134076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44" y="1643050"/>
          <a:ext cx="8786874" cy="487146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786214"/>
                <a:gridCol w="785818"/>
                <a:gridCol w="785818"/>
                <a:gridCol w="785818"/>
                <a:gridCol w="571504"/>
                <a:gridCol w="928694"/>
                <a:gridCol w="642942"/>
                <a:gridCol w="500066"/>
              </a:tblGrid>
              <a:tr h="2337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Наименование муниципальной программы 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0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1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2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4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образования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616 135,3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508 548,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07 586,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2,5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506 936,8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 611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658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циальная поддержка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4 282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7 092,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2 809,9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8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34 061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6 968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2,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Управление имуществом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539,3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 13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408,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96,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218,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7,2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5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88 636,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674,8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72 961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,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591,4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83,3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 734,2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125,4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22 608,8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0,9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 435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309,9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3,0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Культура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6 932,2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43 119,2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3 813,0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1,8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2 401,0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718,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8,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экономик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74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41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3,3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0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29,7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1,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2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1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02 679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3 204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89 475,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55,8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2 265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938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1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273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19 113,6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9 113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0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9 113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8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303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 341,4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 962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0,9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 467,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25,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1,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831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492,6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4 099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 392,7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1,0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3 774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324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7,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117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Молодежь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45,0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42,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2,5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99,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09,7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2,7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6,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"Формирование современной городской среды"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19 595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20 455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60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0,3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221 315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6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787 464,8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390 889,8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96 575,02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77,8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395 519,9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 630,1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3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921625" y="1304913"/>
            <a:ext cx="122237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/>
              <a:t>тыс.рублей</a:t>
            </a: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планируемых расходах на реализацию муниципальных программ на 2020 год и на плановый период 2021-2022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9395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285860"/>
          <a:ext cx="8643938" cy="539526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507683"/>
                <a:gridCol w="688460"/>
                <a:gridCol w="611965"/>
                <a:gridCol w="688460"/>
                <a:gridCol w="611965"/>
                <a:gridCol w="535405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шко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полните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,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-2428924" y="1571612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526198"/>
          <a:ext cx="8643997" cy="483658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286412"/>
                <a:gridCol w="928694"/>
                <a:gridCol w="571504"/>
                <a:gridCol w="571504"/>
                <a:gridCol w="642942"/>
                <a:gridCol w="642941"/>
              </a:tblGrid>
              <a:tr h="21917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6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827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реконструированных учреждений культуры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42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620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воспитывающихся в замещающих семьях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нуждающихся в определении в семью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428625" y="357188"/>
            <a:ext cx="838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900" b="1" cap="all" dirty="0">
              <a:solidFill>
                <a:srgbClr val="66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57158" y="1714487"/>
          <a:ext cx="8520142" cy="476156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20205"/>
                <a:gridCol w="964053"/>
                <a:gridCol w="1102472"/>
                <a:gridCol w="854946"/>
                <a:gridCol w="1104101"/>
                <a:gridCol w="936368"/>
                <a:gridCol w="937997"/>
              </a:tblGrid>
              <a:tr h="214315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2D050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</a:tr>
              <a:tr h="5137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7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5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8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3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3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98,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5,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7,1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7,6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48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123,0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869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0,5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,1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3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8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9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550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033,4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256,1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417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559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757,3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921,8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348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280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 411,9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 925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 825,9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771,3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 832,9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867,5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6493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,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4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6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,8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571800" y="1500174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5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571612"/>
          <a:ext cx="8501123" cy="502447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64"/>
                <a:gridCol w="500066"/>
                <a:gridCol w="571504"/>
                <a:gridCol w="642942"/>
                <a:gridCol w="642942"/>
                <a:gridCol w="571505"/>
              </a:tblGrid>
              <a:tr h="2032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4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3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937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5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26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45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планами работ, утвержденными администрацией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286048" y="1785926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86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80" y="1431272"/>
          <a:ext cx="8643937" cy="5078634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111169"/>
                <a:gridCol w="826820"/>
                <a:gridCol w="676487"/>
                <a:gridCol w="676487"/>
                <a:gridCol w="676487"/>
                <a:gridCol w="676487"/>
              </a:tblGrid>
              <a:tr h="16676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,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город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всероссийских и краев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инвалид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85852" y="142852"/>
            <a:ext cx="76438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5" name="Rectangle 2"/>
          <p:cNvSpPr>
            <a:spLocks noChangeArrowheads="1"/>
          </p:cNvSpPr>
          <p:nvPr/>
        </p:nvSpPr>
        <p:spPr bwMode="auto">
          <a:xfrm>
            <a:off x="-2214610" y="228599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030A0"/>
              </a:solidFill>
            </a:endParaRPr>
          </a:p>
        </p:txBody>
      </p:sp>
      <p:sp>
        <p:nvSpPr>
          <p:cNvPr id="747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434060"/>
          <a:ext cx="8501091" cy="5138211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643572"/>
                <a:gridCol w="571504"/>
                <a:gridCol w="571504"/>
                <a:gridCol w="571504"/>
                <a:gridCol w="571504"/>
                <a:gridCol w="571503"/>
              </a:tblGrid>
              <a:tr h="22767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98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7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7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7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012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51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82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67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7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имеющих трех и более детей, в том числе в которых один из супругов, или оба супруга, или родитель в неполной семье в 2018 году достиг возраста 36 лет, получивших извещения)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259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семей, исключенных из числа участников основного мероприятия «Обеспечение жильем молодых семей» государственной программы Российской Федерации «Обеспечение доступным и комфортным жильем и коммунальными услугами граждан Российской Федерации», в связи с превышением одним из супругов либо родителем в неполной семье возраста 35 лет, и в которых возраст каждого из супругов либо родителя в неполной семье в 2018 году не превысил 39 лет, получивших извещения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71530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928990" y="157161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680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158" y="1285860"/>
          <a:ext cx="8429682" cy="535784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372399"/>
                <a:gridCol w="783919"/>
                <a:gridCol w="627135"/>
                <a:gridCol w="548743"/>
                <a:gridCol w="548743"/>
                <a:gridCol w="548743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нообразие   тематической  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правленности проводимых мероприяти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направлени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9675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емонстрация художественных и хронико-документальных фильм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кинопоказ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700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зрите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511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мена подвесных потолков на деревянном каркасе на несгораемые с заменой электроосвещения (алюминиевой проводки) с установкой энергосберегающего оборуд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0335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экземпляров библиотечного фонда общедоступных библиотек на 1000 человек насел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яч экземпляр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читателе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иблиотечного фонд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шту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зарегистрированных пользовате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44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окументов, выданных из фондов библиот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шту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новых поступлений в библиотечный фон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экз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9875" name="Rectangle 2"/>
          <p:cNvSpPr>
            <a:spLocks noChangeArrowheads="1"/>
          </p:cNvSpPr>
          <p:nvPr/>
        </p:nvSpPr>
        <p:spPr bwMode="auto">
          <a:xfrm>
            <a:off x="-2571800" y="2357430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660033"/>
              </a:solidFill>
            </a:endParaRPr>
          </a:p>
        </p:txBody>
      </p:sp>
      <p:sp>
        <p:nvSpPr>
          <p:cNvPr id="7987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58" y="1500175"/>
          <a:ext cx="8501123" cy="505370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5286412"/>
                <a:gridCol w="714380"/>
                <a:gridCol w="714380"/>
                <a:gridCol w="642942"/>
                <a:gridCol w="571504"/>
                <a:gridCol w="571505"/>
              </a:tblGrid>
              <a:tr h="16121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62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65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предыдущему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3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субъектов малого и среднего предприниматель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774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69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957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4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ытов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орот розничной торгов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5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9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7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койко–мест средств размещения санаторно-курортного и туристско-рекреационного комплекс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5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5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изводительность водозаборных сооруж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куб. м/сутк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6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линий транспортировки и распространения вод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000111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1923" name="Rectangle 2"/>
          <p:cNvSpPr>
            <a:spLocks noChangeArrowheads="1"/>
          </p:cNvSpPr>
          <p:nvPr/>
        </p:nvSpPr>
        <p:spPr bwMode="auto">
          <a:xfrm>
            <a:off x="-2786114" y="1428736"/>
            <a:ext cx="90011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8192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268225"/>
          <a:ext cx="8572500" cy="537548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591316"/>
                <a:gridCol w="521707"/>
                <a:gridCol w="670766"/>
                <a:gridCol w="596245"/>
                <a:gridCol w="596233"/>
                <a:gridCol w="596233"/>
              </a:tblGrid>
              <a:tr h="1602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020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35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43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33,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34,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004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8 45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08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770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7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7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509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 </a:t>
                      </a:r>
                      <a:r>
                        <a:rPr lang="ru-RU" sz="1200" dirty="0" smtClean="0"/>
                        <a:t>,7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 </a:t>
                      </a:r>
                      <a:r>
                        <a:rPr lang="ru-RU" sz="1200" dirty="0" smtClean="0"/>
                        <a:t>,8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2478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щая площадь улиц и проездов, находящихся на территории муниципального образовани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940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Сокращение потребления электрической энергии на 1 кв. метр освещаемой территории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Вт/ч/кв.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0,0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45,4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68,1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доли образовательных организаций со стопроцентной заменой оконных блоков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532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75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6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т/ч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7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38"/>
            <a:ext cx="7643866" cy="7857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4996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643050"/>
          <a:ext cx="8418512" cy="5029157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33"/>
                <a:gridCol w="488956"/>
                <a:gridCol w="706423"/>
                <a:gridCol w="558800"/>
                <a:gridCol w="560388"/>
                <a:gridCol w="531812"/>
              </a:tblGrid>
              <a:tr h="1172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0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706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86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9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84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04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7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9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71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5163" name="Rectangle 2"/>
          <p:cNvSpPr>
            <a:spLocks noChangeArrowheads="1"/>
          </p:cNvSpPr>
          <p:nvPr/>
        </p:nvSpPr>
        <p:spPr bwMode="auto">
          <a:xfrm>
            <a:off x="142875" y="0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6699"/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000100" y="71438"/>
            <a:ext cx="7929618" cy="12144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3333FF"/>
              </a:solidFill>
            </a:endParaRPr>
          </a:p>
        </p:txBody>
      </p:sp>
      <p:sp>
        <p:nvSpPr>
          <p:cNvPr id="8704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282" y="1214422"/>
          <a:ext cx="8715439" cy="5462353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143668"/>
                <a:gridCol w="714380"/>
                <a:gridCol w="428628"/>
                <a:gridCol w="428628"/>
                <a:gridCol w="428628"/>
                <a:gridCol w="571507"/>
              </a:tblGrid>
              <a:tr h="11555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2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1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62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56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7614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совершенных преступлений 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-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011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901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2" y="1214420"/>
          <a:ext cx="8715433" cy="542929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6215105"/>
                <a:gridCol w="684252"/>
                <a:gridCol w="454019"/>
                <a:gridCol w="454019"/>
                <a:gridCol w="454019"/>
                <a:gridCol w="454019"/>
              </a:tblGrid>
              <a:tr h="147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-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7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1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роприят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9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1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1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щенных в эфир теле- радиопрограм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928662" y="142852"/>
            <a:ext cx="7858180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857233"/>
            <a:ext cx="849630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523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7575"/>
              </a:solidFill>
            </a:endParaRPr>
          </a:p>
        </p:txBody>
      </p:sp>
      <p:sp>
        <p:nvSpPr>
          <p:cNvPr id="952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3" y="1381135"/>
          <a:ext cx="8715435" cy="497682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643601"/>
                <a:gridCol w="857256"/>
                <a:gridCol w="571504"/>
                <a:gridCol w="500066"/>
                <a:gridCol w="571504"/>
                <a:gridCol w="571504"/>
              </a:tblGrid>
              <a:tr h="1750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0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1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филактиче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92867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1214414" y="1857364"/>
            <a:ext cx="7162800" cy="78581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центрация ресурсов на достижение целей, показателей и результатов муниципальных программ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14414" y="3929066"/>
            <a:ext cx="7162800" cy="121444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открытости и прозрачности информации об управлении общественными финансами, расширение практики общественного участия при обсуждении и принятии бюджетных решений, развитие принципов инициативного бюджетирования.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928662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14414" y="307181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расходования бюджетных средств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0002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07181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85720" y="421481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728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FF"/>
              </a:solidFill>
            </a:endParaRPr>
          </a:p>
        </p:txBody>
      </p:sp>
      <p:sp>
        <p:nvSpPr>
          <p:cNvPr id="972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18" y="1285861"/>
          <a:ext cx="8501122" cy="5214971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847170"/>
                <a:gridCol w="641195"/>
                <a:gridCol w="721344"/>
                <a:gridCol w="721344"/>
                <a:gridCol w="641195"/>
                <a:gridCol w="641195"/>
                <a:gridCol w="641195"/>
                <a:gridCol w="646484"/>
              </a:tblGrid>
              <a:tr h="176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-ни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6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дворовых территор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2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3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336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граждан, вовлеченных в реализацию </a:t>
                      </a:r>
                      <a:r>
                        <a:rPr lang="ru-RU" sz="1200" dirty="0" smtClean="0"/>
                        <a:t>мероприят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 2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3 94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 2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6 5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8 7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 9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424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1200" dirty="0" smtClean="0"/>
                        <a:t>города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руб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3,3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8,9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ед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2 1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 6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 9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7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0 3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1200" dirty="0" smtClean="0"/>
                        <a:t>Железноводске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1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2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8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088782"/>
          <a:ext cx="8572500" cy="526917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232013"/>
                <a:gridCol w="1214446"/>
                <a:gridCol w="1143003"/>
                <a:gridCol w="142875"/>
                <a:gridCol w="500063"/>
                <a:gridCol w="500062"/>
                <a:gridCol w="428625"/>
                <a:gridCol w="1071563"/>
                <a:gridCol w="1000125"/>
              </a:tblGrid>
              <a:tr h="51282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сирова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965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822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1881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образования в городе-курорте Железноводска Ставропольского края» (ответственный исполнитель – управление  образования администрации города-курорта Железноводск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3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детского сада - ясли  в жилом районе пос. Капельница по ул. Виноградной, 3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19745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детского сада - ясли  в жилом районе пос. Капельница по ул. Виноградной, 3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725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214422"/>
          <a:ext cx="8572500" cy="435771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142875"/>
                <a:gridCol w="500063"/>
                <a:gridCol w="500062"/>
                <a:gridCol w="428625"/>
                <a:gridCol w="220663"/>
                <a:gridCol w="850900"/>
                <a:gridCol w="1000125"/>
              </a:tblGrid>
              <a:tr h="49649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344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0900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физической культуры и спорта в городе-курорте Железноводске Ставропольского края» (ответственный исполнитель – комитет по физической культуре, спорту и туризму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639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) объектов спор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митет по физической культуре, спорту и туризму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даптация спортивной площадк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226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93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3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0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387465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8641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582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0687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обретение благоустроенного жилого помещения в муниципальную собств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дминистрация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 кварти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81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9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394609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738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41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347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V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транспортной системы и охраны окружающей среды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4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, техническое перевооружение) дорожных объектов муниципальной собств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 остановочных пунк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6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7643834" y="171448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2563652">
            <a:off x="3328217" y="1691173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428728" y="142852"/>
            <a:ext cx="7215238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2844" y="5000636"/>
            <a:ext cx="8858312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0 году планируется привлечение бюджетного кредита в сумме 30,0 млн. рублей при наличии кассового разрыва с погашением в течение 2020 года, а также банковского кредита в сумме  15,0 млн. рублей на покрытие дефицита бюджета с погашением в течение 2020 года.</a:t>
            </a: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гашение заемных средств в 2020 году планируется по банковским кредитам в сумме  5,0 млн. рублей, по бюджетному кредиту – 3,3 млн. рублей.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01.01.202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, на 01.01.2022 г. и на 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428596" y="857232"/>
          <a:ext cx="8501122" cy="5083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785786" y="1071546"/>
            <a:ext cx="7929619" cy="5210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chemeClr val="bg1"/>
                </a:solidFill>
              </a:rPr>
              <a:t>Контактная информация </a:t>
            </a:r>
          </a:p>
          <a:p>
            <a:pPr algn="ctr"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3200" i="1" dirty="0">
                <a:solidFill>
                  <a:schemeClr val="bg1"/>
                </a:solidFill>
              </a:rPr>
              <a:t>Финансового управления администрации города-курорта Железноводска Ставропольского края</a:t>
            </a:r>
          </a:p>
          <a:p>
            <a:pPr>
              <a:defRPr/>
            </a:pPr>
            <a:endParaRPr lang="ru-RU" sz="3200" b="1" dirty="0">
              <a:solidFill>
                <a:schemeClr val="bg1"/>
              </a:solidFill>
            </a:endParaRPr>
          </a:p>
          <a:p>
            <a:pPr marL="1160463" indent="-1160463"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:</a:t>
            </a:r>
            <a:r>
              <a:rPr lang="ru-RU" sz="2400" dirty="0">
                <a:solidFill>
                  <a:schemeClr val="bg1"/>
                </a:solidFill>
              </a:rPr>
              <a:t> 357401, Ставропольский край, г. Железноводск,  </a:t>
            </a:r>
          </a:p>
          <a:p>
            <a:pPr marL="1160463" indent="-173038">
              <a:defRPr/>
            </a:pPr>
            <a:r>
              <a:rPr lang="ru-RU" sz="2400" dirty="0">
                <a:solidFill>
                  <a:schemeClr val="bg1"/>
                </a:solidFill>
              </a:rPr>
              <a:t>ул. Ленина, д.1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Телефон: </a:t>
            </a:r>
            <a:r>
              <a:rPr lang="ru-RU" sz="2400" dirty="0">
                <a:solidFill>
                  <a:schemeClr val="bg1"/>
                </a:solidFill>
              </a:rPr>
              <a:t>(879-32) 4-30-85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Факс:</a:t>
            </a:r>
            <a:r>
              <a:rPr lang="ru-RU" sz="2400" dirty="0">
                <a:solidFill>
                  <a:schemeClr val="bg1"/>
                </a:solidFill>
              </a:rPr>
              <a:t> (879-32) 3-15-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 электронной почты:</a:t>
            </a:r>
            <a:r>
              <a:rPr lang="ru-RU" sz="2400" dirty="0">
                <a:solidFill>
                  <a:schemeClr val="bg1"/>
                </a:solidFill>
              </a:rPr>
              <a:t> </a:t>
            </a:r>
            <a:r>
              <a:rPr lang="ru-RU" sz="2400" dirty="0" err="1">
                <a:solidFill>
                  <a:schemeClr val="bg1"/>
                </a:solidFill>
              </a:rPr>
              <a:t>zhelfin@mail.ru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</a:p>
          <a:p>
            <a:pPr>
              <a:defRPr/>
            </a:pPr>
            <a:r>
              <a:rPr lang="ru-RU" sz="2800" dirty="0">
                <a:solidFill>
                  <a:srgbClr val="660033"/>
                </a:solidFill>
              </a:rPr>
              <a:t> 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" y="0"/>
            <a:ext cx="9144000" cy="6865305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1214414" y="2143116"/>
            <a:ext cx="7162800" cy="10668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активности хозяйствующих субъектов, осуществляющих деятельность на территории города-курорта Железноводск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285852" y="3571876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управления муниципальными активами.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285852" y="450057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налогового администрирования.</a:t>
            </a: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42886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571876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85720" y="450057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26" name="Скругленный прямоугольник 25"/>
          <p:cNvSpPr/>
          <p:nvPr/>
        </p:nvSpPr>
        <p:spPr>
          <a:xfrm>
            <a:off x="522259" y="1214422"/>
            <a:ext cx="8478897" cy="32147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оддержание объема муниципального долга на оптимальном уровне, в рамках которого предполагается</a:t>
            </a:r>
            <a:r>
              <a:rPr lang="ru-RU" sz="1400" i="1" dirty="0" smtClean="0">
                <a:solidFill>
                  <a:schemeClr val="tx1"/>
                </a:solidFill>
              </a:rPr>
              <a:t>: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71472" y="4500570"/>
            <a:ext cx="8501122" cy="9144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Минимизация стоимости обслуживания муниципального долга, в рамках которой </a:t>
            </a:r>
            <a:r>
              <a:rPr lang="ru-RU" sz="1400" i="1" dirty="0" smtClean="0">
                <a:solidFill>
                  <a:schemeClr val="tx1"/>
                </a:solidFill>
              </a:rPr>
              <a:t>предполагается: управление ликвидностью единого счета бюджета город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анализа процентных ставок  на рынке кредитов в целях минимизации расходов бюджет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заимствований в кредитных организациях;.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71472" y="5500702"/>
            <a:ext cx="8501122" cy="13017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350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ланирование графиков погашения долговых обязательств города-курорта Железноводска Ставропольского края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642910" y="142852"/>
            <a:ext cx="8286808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дол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71406" y="2500306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71406" y="485776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71406" y="592933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2094</TotalTime>
  <Words>8768</Words>
  <Application>Microsoft Office PowerPoint</Application>
  <PresentationFormat>Экран (4:3)</PresentationFormat>
  <Paragraphs>2549</Paragraphs>
  <Slides>7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6</vt:i4>
      </vt:variant>
    </vt:vector>
  </HeadingPairs>
  <TitlesOfParts>
    <vt:vector size="78" baseType="lpstr">
      <vt:lpstr>Тема Office</vt:lpstr>
      <vt:lpstr>Workshee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AdmAccount</cp:lastModifiedBy>
  <cp:revision>3092</cp:revision>
  <dcterms:created xsi:type="dcterms:W3CDTF">2014-11-25T07:29:51Z</dcterms:created>
  <dcterms:modified xsi:type="dcterms:W3CDTF">2020-02-13T12:46:21Z</dcterms:modified>
</cp:coreProperties>
</file>